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omments/modernComment_7FFE5779_849A79BD.xml" ContentType="application/vnd.ms-powerpoint.comment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550144564" r:id="rId5"/>
    <p:sldId id="2147374966" r:id="rId6"/>
    <p:sldId id="2147374969" r:id="rId7"/>
    <p:sldId id="550144705" r:id="rId8"/>
    <p:sldId id="550144701" r:id="rId9"/>
    <p:sldId id="2147374967" r:id="rId10"/>
    <p:sldId id="2147374970" r:id="rId11"/>
    <p:sldId id="2147374971" r:id="rId12"/>
    <p:sldId id="2147374968" r:id="rId13"/>
  </p:sldIdLst>
  <p:sldSz cx="12192000" cy="6858000"/>
  <p:notesSz cx="6858000" cy="9144000"/>
  <p:custDataLst>
    <p:tags r:id="rId16"/>
  </p:custDataLst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How to use this template?" id="{9D22270D-A86C-E04E-A031-F8838B622352}">
          <p14:sldIdLst>
            <p14:sldId id="550144564"/>
            <p14:sldId id="2147374966"/>
            <p14:sldId id="2147374969"/>
            <p14:sldId id="550144705"/>
            <p14:sldId id="550144701"/>
            <p14:sldId id="2147374967"/>
            <p14:sldId id="2147374970"/>
            <p14:sldId id="2147374971"/>
            <p14:sldId id="2147374968"/>
          </p14:sldIdLst>
        </p14:section>
        <p14:section name="Transitions / Segue" id="{8F312369-66F9-1F4E-9644-3590CB5A3CA7}">
          <p14:sldIdLst/>
        </p14:section>
        <p14:section name="Agenda Slides" id="{D6040910-B0C5-5D45-A2CA-BEFB26D85286}">
          <p14:sldIdLst/>
        </p14:section>
        <p14:section name="Text Slides" id="{8D5BB018-8121-6F40-B89D-265313FF1A1B}">
          <p14:sldIdLst/>
        </p14:section>
        <p14:section name="Illustrative Slides" id="{31C7CDC8-9A66-4547-BA90-72D4A33302F8}">
          <p14:sldIdLst/>
        </p14:section>
        <p14:section name="Quotes Slides" id="{1A8BEF56-4ECE-8E4F-B725-0045F5AAFEDB}">
          <p14:sldIdLst/>
        </p14:section>
        <p14:section name="Product Architecture" id="{60AD558B-9875-884A-B514-CF667229CB5D}">
          <p14:sldIdLst/>
        </p14:section>
        <p14:section name="Product Specific Slides" id="{41369397-C781-1A44-B8C4-7155DE65ABDF}">
          <p14:sldIdLst/>
        </p14:section>
        <p14:section name="Slides with Icons" id="{5579341F-D9DF-E049-ABF1-A8F04B0A0EF4}">
          <p14:sldIdLst/>
        </p14:section>
        <p14:section name="Teams Slides" id="{70D41FE3-90C9-2E49-9F68-F6E945AC0916}">
          <p14:sldIdLst/>
        </p14:section>
        <p14:section name="Image Slides" id="{40110DA5-037D-BA48-988F-2FC8243D1ACE}">
          <p14:sldIdLst/>
        </p14:section>
        <p14:section name="Tables &amp; Charts" id="{B858AFD6-15F4-BA49-AAFD-CAC5A505EC2C}">
          <p14:sldIdLst/>
        </p14:section>
        <p14:section name="Text with Devices" id="{634A8DB6-DFB8-6746-9C43-824406F146D2}">
          <p14:sldIdLst/>
        </p14:section>
        <p14:section name="Closing" id="{3C7A9338-C40D-8943-AEA8-11032E08C1D6}">
          <p14:sldIdLst/>
        </p14:section>
        <p14:section name="How to" id="{F232DEFB-DF46-3244-8655-8ECA49B2F096}">
          <p14:sldIdLst/>
        </p14:section>
        <p14:section name="Progress Logos" id="{E692BD2D-BB3B-3D4A-A83C-07B0E42CC1CA}">
          <p14:sldIdLst/>
        </p14:section>
        <p14:section name="Icons &amp; illustrations" id="{C40087D4-E51F-0A4F-A571-CA4A5075A135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727308-719B-F86B-3497-A64B08447E9C}" name="Dinara Doyle" initials="DD" userId="S::doyle@progress.com::7ccbcfe0-872f-4070-9bde-2eb7244c22ea" providerId="AD"/>
  <p188:author id="{9AD98B50-D50C-442C-D3A6-0EDE4D7E92E1}" name="Veli Stanchev" initials="VS" userId="S::vstanchev@progress.com::e2276c18-7d69-4628-9aea-72f389ac5bcc" providerId="AD"/>
  <p188:author id="{566BB559-1CBF-49DE-8D59-3B3FE43E7FBB}" name="Mark Delaney" initials="MD" userId="S::madelane@progress.com::76a67e18-a708-4f21-856b-f29f2391fe6d" providerId="AD"/>
  <p188:author id="{6C766471-055F-BB5C-34E7-2AB99226CAD3}" name="Smitha Ravindran" initials="SR" userId="S::sravindr@progress.com::d72b02d3-dbb9-46c3-9962-b9e25a1438e3" providerId="AD"/>
  <p188:author id="{515FCF74-AB01-631D-F9A9-48E5F6624FA4}" name="Kate Pendarvis" initials="KP" userId="S::kpendarv@progress.com::f124ca68-ea0b-4b22-90d7-1858728ec8e1" providerId="AD"/>
  <p188:author id="{0F6A7B7B-2AF4-F6CF-1972-7FFADA94A6D8}" name="Mihaela Lukanova" initials="ML" userId="S::lukanova@progress.com::a4e1cb4a-9a77-4500-9f80-24d3bf588c3f" providerId="AD"/>
  <p188:author id="{E2DA83D0-9198-B5D2-822A-62BD34B21C73}" name="Kamen Kamenov" initials="" userId="S::kamenov@progress.com::946bab71-35c6-49b9-a4a3-f1a9b964c29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kki Scaplen" initials="NS" lastIdx="19" clrIdx="0">
    <p:extLst>
      <p:ext uri="{19B8F6BF-5375-455C-9EA6-DF929625EA0E}">
        <p15:presenceInfo xmlns:p15="http://schemas.microsoft.com/office/powerpoint/2012/main" userId="S::nscaplen@progress.com::e49d323e-6f55-401c-9b10-1207db3077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158E4"/>
    <a:srgbClr val="4B5FFA"/>
    <a:srgbClr val="00206B"/>
    <a:srgbClr val="5573ED"/>
    <a:srgbClr val="2A22B5"/>
    <a:srgbClr val="3143A1"/>
    <a:srgbClr val="00A763"/>
    <a:srgbClr val="00B563"/>
    <a:srgbClr val="008963"/>
    <a:srgbClr val="5CE5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63AB9D-E1CE-4473-9B55-6168D25EBBCC}" v="2" dt="2025-10-21T12:33:42.933"/>
    <p1510:client id="{57A42468-B380-CB88-14DC-4B49467CFCD8}" v="3" dt="2025-10-21T13:38:40.371"/>
    <p1510:client id="{615E1964-E031-9C1E-1D86-C785E0C8663A}" v="374" dt="2025-10-21T14:10:56.337"/>
    <p1510:client id="{7CECC2BD-E670-40B9-99D4-17BD0730F9A7}" v="5" dt="2025-10-21T15:39:01.033"/>
    <p1510:client id="{A952A42A-77FE-385D-81C1-D2B0BB3D70FE}" v="1" dt="2025-10-21T15:40:42.699"/>
  </p1510:revLst>
</p1510:revInfo>
</file>

<file path=ppt/tableStyles.xml><?xml version="1.0" encoding="utf-8"?>
<a:tblStyleLst xmlns:a="http://schemas.openxmlformats.org/drawingml/2006/main" def="{1E171933-4619-4E11-9A3F-F7608DF75F80}"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omments/modernComment_7FFE5779_849A79B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3B12AC1-0E03-4342-BCD8-51C6E2898171}" authorId="{0F6A7B7B-2AF4-F6CF-1972-7FFADA94A6D8}" created="2025-10-21T12:07:11.301">
    <pc:sldMkLst xmlns:pc="http://schemas.microsoft.com/office/powerpoint/2013/main/command">
      <pc:docMk/>
      <pc:sldMk cId="2224716221" sldId="2147374969"/>
    </pc:sldMkLst>
    <p188:txBody>
      <a:bodyPr/>
      <a:lstStyle/>
      <a:p>
        <a:r>
          <a:rPr lang="en-US"/>
          <a:t>Point1: 
Enable non-technical users to create professional dashboards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d-ID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3FA2CC-1B66-4639-B8DA-DB494024A982}" type="datetimeFigureOut">
              <a:rPr lang="id-ID" smtClean="0">
                <a:latin typeface="Arial" panose="020B0604020202020204" pitchFamily="34" charset="0"/>
              </a:rPr>
              <a:t>21/10/2025</a:t>
            </a:fld>
            <a:endParaRPr lang="id-ID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d-ID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79753B-F854-4C78-AD17-D3232BD27861}" type="slidenum">
              <a:rPr lang="id-ID" smtClean="0">
                <a:latin typeface="Arial" panose="020B0604020202020204" pitchFamily="34" charset="0"/>
              </a:rPr>
              <a:t>‹#›</a:t>
            </a:fld>
            <a:endParaRPr lang="id-ID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99300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E38D6616-5898-4FCB-A57E-5ECAF0ABEA38}" type="datetimeFigureOut">
              <a:rPr lang="id-ID" smtClean="0"/>
              <a:pPr/>
              <a:t>21/10/2025</a:t>
            </a:fld>
            <a:endParaRPr lang="id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d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293019A1-94FF-4EE3-817F-0E236D94A3C5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5376619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3.w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6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2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0.w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1.emf"/><Relationship Id="rId4" Type="http://schemas.openxmlformats.org/officeDocument/2006/relationships/image" Target="../media/image18.sv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svg"/><Relationship Id="rId11" Type="http://schemas.openxmlformats.org/officeDocument/2006/relationships/image" Target="../media/image9.png"/><Relationship Id="rId5" Type="http://schemas.openxmlformats.org/officeDocument/2006/relationships/image" Target="../media/image2.png"/><Relationship Id="rId10" Type="http://schemas.openxmlformats.org/officeDocument/2006/relationships/image" Target="../media/image8.svg"/><Relationship Id="rId4" Type="http://schemas.openxmlformats.org/officeDocument/2006/relationships/image" Target="../media/image1.emf"/><Relationship Id="rId9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rogress.com/" TargetMode="External"/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image" Target="../media/image31.emf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hyperlink" Target="https://www.progress.com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image" Target="../media/image32.png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hyperlink" Target="https://www.progress.com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image" Target="../media/image31.emf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hyperlink" Target="https://www.progress.com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33.w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hyperlink" Target="https://www.progress.com/" TargetMode="Externa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40.wmf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41.wmf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1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wmf"/><Relationship Id="rId7" Type="http://schemas.openxmlformats.org/officeDocument/2006/relationships/image" Target="../media/image1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wmf"/><Relationship Id="rId7" Type="http://schemas.openxmlformats.org/officeDocument/2006/relationships/image" Target="../media/image1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svg"/><Relationship Id="rId3" Type="http://schemas.openxmlformats.org/officeDocument/2006/relationships/image" Target="../media/image44.png"/><Relationship Id="rId7" Type="http://schemas.openxmlformats.org/officeDocument/2006/relationships/image" Target="../media/image4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4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2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wmf"/><Relationship Id="rId7" Type="http://schemas.openxmlformats.org/officeDocument/2006/relationships/image" Target="../media/image1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image" Target="../media/image49.wmf"/><Relationship Id="rId7" Type="http://schemas.openxmlformats.org/officeDocument/2006/relationships/image" Target="../media/image1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50.wmf"/><Relationship Id="rId7" Type="http://schemas.openxmlformats.org/officeDocument/2006/relationships/hyperlink" Target="https://www.progress.com/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25.emf"/><Relationship Id="rId9" Type="http://schemas.openxmlformats.org/officeDocument/2006/relationships/image" Target="../media/image3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5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w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w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wmf"/><Relationship Id="rId3" Type="http://schemas.openxmlformats.org/officeDocument/2006/relationships/oleObject" Target="../embeddings/oleObject5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2.png"/><Relationship Id="rId5" Type="http://schemas.openxmlformats.org/officeDocument/2006/relationships/hyperlink" Target="https://www.progress.com/" TargetMode="External"/><Relationship Id="rId10" Type="http://schemas.openxmlformats.org/officeDocument/2006/relationships/image" Target="../media/image18.svg"/><Relationship Id="rId4" Type="http://schemas.openxmlformats.org/officeDocument/2006/relationships/image" Target="../media/image1.emf"/><Relationship Id="rId9" Type="http://schemas.openxmlformats.org/officeDocument/2006/relationships/image" Target="../media/image17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image" Target="../media/image13.png"/><Relationship Id="rId7" Type="http://schemas.openxmlformats.org/officeDocument/2006/relationships/image" Target="../media/image15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4.svg"/><Relationship Id="rId9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svg"/><Relationship Id="rId3" Type="http://schemas.openxmlformats.org/officeDocument/2006/relationships/image" Target="../media/image55.png"/><Relationship Id="rId7" Type="http://schemas.openxmlformats.org/officeDocument/2006/relationships/image" Target="../media/image5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6.svg"/><Relationship Id="rId9" Type="http://schemas.openxmlformats.org/officeDocument/2006/relationships/image" Target="../media/image59.png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10" Type="http://schemas.openxmlformats.org/officeDocument/2006/relationships/image" Target="../media/image65.svg"/><Relationship Id="rId4" Type="http://schemas.openxmlformats.org/officeDocument/2006/relationships/image" Target="../media/image1.emf"/><Relationship Id="rId9" Type="http://schemas.openxmlformats.org/officeDocument/2006/relationships/image" Target="../media/image64.png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3" Type="http://schemas.openxmlformats.org/officeDocument/2006/relationships/image" Target="../media/image66.png"/><Relationship Id="rId7" Type="http://schemas.openxmlformats.org/officeDocument/2006/relationships/image" Target="../media/image6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71.svg"/><Relationship Id="rId4" Type="http://schemas.openxmlformats.org/officeDocument/2006/relationships/image" Target="../media/image67.svg"/><Relationship Id="rId9" Type="http://schemas.openxmlformats.org/officeDocument/2006/relationships/image" Target="../media/image70.png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72.emf"/><Relationship Id="rId7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75.emf"/><Relationship Id="rId5" Type="http://schemas.openxmlformats.org/officeDocument/2006/relationships/image" Target="../media/image74.svg"/><Relationship Id="rId10" Type="http://schemas.openxmlformats.org/officeDocument/2006/relationships/image" Target="../media/image77.svg"/><Relationship Id="rId4" Type="http://schemas.openxmlformats.org/officeDocument/2006/relationships/image" Target="../media/image73.png"/><Relationship Id="rId9" Type="http://schemas.openxmlformats.org/officeDocument/2006/relationships/image" Target="../media/image76.png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72.emf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83.svg"/><Relationship Id="rId5" Type="http://schemas.openxmlformats.org/officeDocument/2006/relationships/image" Target="../media/image79.svg"/><Relationship Id="rId10" Type="http://schemas.openxmlformats.org/officeDocument/2006/relationships/image" Target="../media/image82.png"/><Relationship Id="rId4" Type="http://schemas.openxmlformats.org/officeDocument/2006/relationships/image" Target="../media/image78.png"/><Relationship Id="rId9" Type="http://schemas.openxmlformats.org/officeDocument/2006/relationships/image" Target="../media/image81.svg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72.emf"/><Relationship Id="rId7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86.svg"/><Relationship Id="rId11" Type="http://schemas.openxmlformats.org/officeDocument/2006/relationships/image" Target="../media/image89.svg"/><Relationship Id="rId5" Type="http://schemas.openxmlformats.org/officeDocument/2006/relationships/image" Target="../media/image85.png"/><Relationship Id="rId10" Type="http://schemas.openxmlformats.org/officeDocument/2006/relationships/image" Target="../media/image88.png"/><Relationship Id="rId4" Type="http://schemas.openxmlformats.org/officeDocument/2006/relationships/image" Target="../media/image84.emf"/><Relationship Id="rId9" Type="http://schemas.openxmlformats.org/officeDocument/2006/relationships/image" Target="../media/image87.emf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90.emf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3.svg"/><Relationship Id="rId10" Type="http://schemas.openxmlformats.org/officeDocument/2006/relationships/image" Target="../media/image93.emf"/><Relationship Id="rId4" Type="http://schemas.openxmlformats.org/officeDocument/2006/relationships/image" Target="../media/image62.png"/><Relationship Id="rId9" Type="http://schemas.openxmlformats.org/officeDocument/2006/relationships/image" Target="../media/image92.sv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emf"/><Relationship Id="rId3" Type="http://schemas.openxmlformats.org/officeDocument/2006/relationships/image" Target="../media/image72.emf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95.svg"/><Relationship Id="rId10" Type="http://schemas.openxmlformats.org/officeDocument/2006/relationships/image" Target="../media/image98.emf"/><Relationship Id="rId4" Type="http://schemas.openxmlformats.org/officeDocument/2006/relationships/image" Target="../media/image94.png"/><Relationship Id="rId9" Type="http://schemas.openxmlformats.org/officeDocument/2006/relationships/image" Target="../media/image97.emf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image" Target="../media/image90.emf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00.svg"/><Relationship Id="rId10" Type="http://schemas.openxmlformats.org/officeDocument/2006/relationships/image" Target="../media/image103.emf"/><Relationship Id="rId4" Type="http://schemas.openxmlformats.org/officeDocument/2006/relationships/image" Target="../media/image99.png"/><Relationship Id="rId9" Type="http://schemas.openxmlformats.org/officeDocument/2006/relationships/image" Target="../media/image10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7" Type="http://schemas.openxmlformats.org/officeDocument/2006/relationships/image" Target="../media/image1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3" Type="http://schemas.openxmlformats.org/officeDocument/2006/relationships/image" Target="../media/image90.emf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05.svg"/><Relationship Id="rId10" Type="http://schemas.openxmlformats.org/officeDocument/2006/relationships/image" Target="../media/image108.emf"/><Relationship Id="rId4" Type="http://schemas.openxmlformats.org/officeDocument/2006/relationships/image" Target="../media/image104.png"/><Relationship Id="rId9" Type="http://schemas.openxmlformats.org/officeDocument/2006/relationships/image" Target="../media/image107.sv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3" Type="http://schemas.openxmlformats.org/officeDocument/2006/relationships/image" Target="../media/image109.png"/><Relationship Id="rId7" Type="http://schemas.openxmlformats.org/officeDocument/2006/relationships/image" Target="../media/image11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10.svg"/><Relationship Id="rId9" Type="http://schemas.openxmlformats.org/officeDocument/2006/relationships/image" Target="../media/image113.svg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svg"/><Relationship Id="rId3" Type="http://schemas.openxmlformats.org/officeDocument/2006/relationships/image" Target="../media/image109.png"/><Relationship Id="rId7" Type="http://schemas.openxmlformats.org/officeDocument/2006/relationships/image" Target="../media/image1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17.svg"/><Relationship Id="rId4" Type="http://schemas.openxmlformats.org/officeDocument/2006/relationships/image" Target="../media/image110.svg"/><Relationship Id="rId9" Type="http://schemas.openxmlformats.org/officeDocument/2006/relationships/image" Target="../media/image116.png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image" Target="../media/image72.emf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19.svg"/><Relationship Id="rId10" Type="http://schemas.openxmlformats.org/officeDocument/2006/relationships/image" Target="../media/image122.png"/><Relationship Id="rId4" Type="http://schemas.openxmlformats.org/officeDocument/2006/relationships/image" Target="../media/image118.png"/><Relationship Id="rId9" Type="http://schemas.openxmlformats.org/officeDocument/2006/relationships/image" Target="../media/image121.svg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3" Type="http://schemas.openxmlformats.org/officeDocument/2006/relationships/image" Target="../media/image72.emf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26.svg"/><Relationship Id="rId5" Type="http://schemas.openxmlformats.org/officeDocument/2006/relationships/image" Target="../media/image105.svg"/><Relationship Id="rId10" Type="http://schemas.openxmlformats.org/officeDocument/2006/relationships/image" Target="../media/image125.png"/><Relationship Id="rId4" Type="http://schemas.openxmlformats.org/officeDocument/2006/relationships/image" Target="../media/image104.png"/><Relationship Id="rId9" Type="http://schemas.openxmlformats.org/officeDocument/2006/relationships/image" Target="../media/image124.svg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png"/><Relationship Id="rId3" Type="http://schemas.openxmlformats.org/officeDocument/2006/relationships/image" Target="../media/image90.emf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30.svg"/><Relationship Id="rId5" Type="http://schemas.openxmlformats.org/officeDocument/2006/relationships/image" Target="../media/image63.svg"/><Relationship Id="rId10" Type="http://schemas.openxmlformats.org/officeDocument/2006/relationships/image" Target="../media/image129.png"/><Relationship Id="rId4" Type="http://schemas.openxmlformats.org/officeDocument/2006/relationships/image" Target="../media/image62.png"/><Relationship Id="rId9" Type="http://schemas.openxmlformats.org/officeDocument/2006/relationships/image" Target="../media/image128.svg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png"/><Relationship Id="rId3" Type="http://schemas.openxmlformats.org/officeDocument/2006/relationships/image" Target="../media/image90.emf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32.svg"/><Relationship Id="rId10" Type="http://schemas.openxmlformats.org/officeDocument/2006/relationships/image" Target="../media/image135.emf"/><Relationship Id="rId4" Type="http://schemas.openxmlformats.org/officeDocument/2006/relationships/image" Target="../media/image131.png"/><Relationship Id="rId9" Type="http://schemas.openxmlformats.org/officeDocument/2006/relationships/image" Target="../media/image134.svg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6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36.png"/><Relationship Id="rId4" Type="http://schemas.openxmlformats.org/officeDocument/2006/relationships/image" Target="../media/image13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9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image" Target="../media/image20.wmf"/><Relationship Id="rId7" Type="http://schemas.openxmlformats.org/officeDocument/2006/relationships/image" Target="../media/image1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2.w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11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1AA0DB6-5A8E-3741-A2E5-D936D902DD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973" y="4846683"/>
            <a:ext cx="5278437" cy="38855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ED3701CF-5DFA-EE46-92C6-82EBEFFD8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8973" y="5312130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08E4E795-5B28-AA4F-9CA0-12577F806A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973" y="5771692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77BE795C-072A-459C-8648-8D68BC93FAA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26315" y="745314"/>
            <a:ext cx="1341526" cy="31117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4D3546BD-7E45-4960-A98F-8DEA36022C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7375" y="0"/>
            <a:ext cx="5755123" cy="6858594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D9F6061-A961-732C-DE22-207470387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72" y="2133600"/>
            <a:ext cx="5294311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5C75CDD-1EC5-7591-CD7B-28470F4708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3" y="3356068"/>
            <a:ext cx="5294312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 err="1"/>
              <a:t>Subheadlin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270806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90CD74EF-88A7-BA0A-D5E3-994D57561A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124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EF2908-ED85-2A14-5FA5-801BBE8ACB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60" t="19770" r="48897" b="51917"/>
          <a:stretch/>
        </p:blipFill>
        <p:spPr>
          <a:xfrm>
            <a:off x="5020886" y="2592388"/>
            <a:ext cx="7171113" cy="4265612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CB40B33-A7C9-794A-8DD4-F029935874E2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BCB04082-9BDB-31FF-09E3-BCCE765EF811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2609126" y="2592388"/>
            <a:ext cx="6973747" cy="1606550"/>
          </a:xfrm>
          <a:prstGeom prst="rect">
            <a:avLst/>
          </a:prstGeom>
          <a:ln algn="ctr"/>
        </p:spPr>
        <p:txBody>
          <a:bodyPr vert="horz" lIns="0" tIns="0" rIns="0" bIns="0" anchor="ctr" anchorCtr="0">
            <a:noAutofit/>
          </a:bodyPr>
          <a:lstStyle>
            <a:lvl1pPr algn="ctr">
              <a:lnSpc>
                <a:spcPct val="85000"/>
              </a:lnSpc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entered Title Style</a:t>
            </a:r>
            <a:br>
              <a:rPr lang="en-US"/>
            </a:br>
            <a:r>
              <a:rPr lang="en-US"/>
              <a:t>Up to</a:t>
            </a:r>
            <a:br>
              <a:rPr lang="en-US"/>
            </a:br>
            <a:r>
              <a:rPr lang="en-US"/>
              <a:t>Three Lines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CFF3731A-EFE4-C688-3AFC-EE08E680615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4D4C91A-087D-C146-BE94-A6D1CCFCCFF6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5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414566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qu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AE07A5C9-E2A5-EBBC-AFC4-290FA6ACC8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08" y="-6545"/>
            <a:ext cx="12184980" cy="66632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C95D576-686E-B842-FBF4-75B8C0003F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8724" t="-16457" r="-1"/>
          <a:stretch/>
        </p:blipFill>
        <p:spPr>
          <a:xfrm>
            <a:off x="-3907892" y="4660950"/>
            <a:ext cx="12192002" cy="6858001"/>
          </a:xfrm>
          <a:prstGeom prst="rect">
            <a:avLst/>
          </a:prstGeom>
          <a:ln>
            <a:noFill/>
          </a:ln>
        </p:spPr>
      </p:pic>
      <p:sp>
        <p:nvSpPr>
          <p:cNvPr id="2" name="Rectangle 3">
            <a:extLst>
              <a:ext uri="{FF2B5EF4-FFF2-40B4-BE49-F238E27FC236}">
                <a16:creationId xmlns:a16="http://schemas.microsoft.com/office/drawing/2014/main" id="{BCB04082-9BDB-31FF-09E3-BCCE765EF811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2609126" y="2592388"/>
            <a:ext cx="6973747" cy="1606550"/>
          </a:xfrm>
          <a:prstGeom prst="rect">
            <a:avLst/>
          </a:prstGeom>
          <a:ln algn="ctr"/>
        </p:spPr>
        <p:txBody>
          <a:bodyPr vert="horz" lIns="0" tIns="0" rIns="0" bIns="0" anchor="ctr" anchorCtr="0">
            <a:noAutofit/>
          </a:bodyPr>
          <a:lstStyle>
            <a:lvl1pPr algn="ctr">
              <a:lnSpc>
                <a:spcPct val="85000"/>
              </a:lnSpc>
              <a:defRPr sz="4000" b="1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entered Title Style</a:t>
            </a:r>
            <a:br>
              <a:rPr lang="en-US"/>
            </a:br>
            <a:r>
              <a:rPr lang="en-US"/>
              <a:t>Up to</a:t>
            </a:r>
            <a:br>
              <a:rPr lang="en-US"/>
            </a:br>
            <a:r>
              <a:rPr lang="en-US"/>
              <a:t>Three Lines</a:t>
            </a:r>
          </a:p>
        </p:txBody>
      </p:sp>
    </p:spTree>
    <p:extLst>
      <p:ext uri="{BB962C8B-B14F-4D97-AF65-F5344CB8AC3E}">
        <p14:creationId xmlns:p14="http://schemas.microsoft.com/office/powerpoint/2010/main" val="39875715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94317C52-CA2C-5D17-CE18-670F7E190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2"/>
          <a:stretch/>
        </p:blipFill>
        <p:spPr>
          <a:xfrm>
            <a:off x="-3908" y="0"/>
            <a:ext cx="5229174" cy="6858000"/>
          </a:xfrm>
          <a:prstGeom prst="rect">
            <a:avLst/>
          </a:prstGeom>
        </p:spPr>
      </p:pic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61753ADC-75D8-4448-B5D4-E9BBB1B32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5307" y="538162"/>
            <a:ext cx="5634381" cy="1117523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Your Agenda Title</a:t>
            </a:r>
            <a:endParaRPr lang="en-BG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717AEA2-C535-A841-90FA-42041EABB7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5509" y="1814513"/>
            <a:ext cx="5632687" cy="4487862"/>
          </a:xfrm>
        </p:spPr>
        <p:txBody>
          <a:bodyPr/>
          <a:lstStyle>
            <a:lvl1pPr marL="278325" indent="-278325">
              <a:tabLst/>
              <a:defRPr/>
            </a:lvl1pPr>
            <a:lvl3pPr marL="668338" indent="-185738">
              <a:tabLst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7B4C29-929C-16B0-D499-37624916C4E9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4B40242-1D99-1BB3-8DCD-1164BB0FA220}"/>
              </a:ext>
            </a:extLst>
          </p:cNvPr>
          <p:cNvSpPr txBox="1"/>
          <p:nvPr userDrawn="1"/>
        </p:nvSpPr>
        <p:spPr>
          <a:xfrm>
            <a:off x="5835307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5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pic>
        <p:nvPicPr>
          <p:cNvPr id="13" name="Picture 3">
            <a:extLst>
              <a:ext uri="{FF2B5EF4-FFF2-40B4-BE49-F238E27FC236}">
                <a16:creationId xmlns:a16="http://schemas.microsoft.com/office/drawing/2014/main" id="{565C78F4-70EB-2B11-FC92-062249EA54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6382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7">
            <a:extLst>
              <a:ext uri="{FF2B5EF4-FFF2-40B4-BE49-F238E27FC236}">
                <a16:creationId xmlns:a16="http://schemas.microsoft.com/office/drawing/2014/main" id="{1D14C74F-C6B8-BA4D-B7D2-50D8BE1D38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65891" y="538162"/>
            <a:ext cx="8503797" cy="1117523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Your Agenda Title</a:t>
            </a:r>
            <a:endParaRPr lang="en-BG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ABA020A-167C-8548-B132-41F414F8BC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56956" y="1814513"/>
            <a:ext cx="8501240" cy="448786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A24B2D0-EC88-391E-C8D9-49C0E15EA2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286"/>
            <a:ext cx="2545839" cy="5717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975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53A27003-DC61-C64B-B594-FC0DBDB24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DE9F7"/>
          </a:solidFill>
        </p:spPr>
        <p:txBody>
          <a:bodyPr vert="horz" lIns="91440" tIns="72000" rIns="91440" bIns="756000" rtlCol="0" anchor="ctr">
            <a:noAutofit/>
          </a:bodyPr>
          <a:lstStyle>
            <a:lvl1pPr algn="ctr">
              <a:defRPr lang="id-ID"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id-ID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4145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0914E58E-8C0C-C445-92B6-E34490EA0F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4198939"/>
            <a:ext cx="7102475" cy="2038350"/>
          </a:xfrm>
          <a:prstGeom prst="rect">
            <a:avLst/>
          </a:prstGeom>
        </p:spPr>
        <p:txBody>
          <a:bodyPr vert="horz" tIns="144000" anchor="b">
            <a:noAutofit/>
          </a:bodyPr>
          <a:lstStyle>
            <a:lvl1pPr>
              <a:lnSpc>
                <a:spcPct val="90000"/>
              </a:lnSpc>
              <a:defRPr lang="en-US" sz="5000" b="1" i="0" kern="0" spc="-150" noProof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Very Important </a:t>
            </a:r>
            <a:br>
              <a:rPr lang="bg-BG"/>
            </a:br>
            <a:r>
              <a:rPr lang="en-US"/>
              <a:t>Message / Statement </a:t>
            </a:r>
            <a:br>
              <a:rPr lang="bg-BG"/>
            </a:br>
            <a:r>
              <a:rPr lang="en-US"/>
              <a:t>/ Conclus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4BB9F5E-A805-46CD-8420-640AE6C67799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F69A72E1-A963-2476-1A04-1E6BD011D44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47F4D4F-6CFC-2ED1-6781-54BDEBA740AB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5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4937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slide 1">
    <p:bg>
      <p:bgPr>
        <a:solidFill>
          <a:srgbClr val="4A41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727FD7B2-A828-1FE3-CB47-CD1F99CE8E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33" y="-12"/>
            <a:ext cx="12192000" cy="685800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A1A1009-D767-594A-B505-AA18289D9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628" t="21844" r="49798" b="53049"/>
          <a:stretch/>
        </p:blipFill>
        <p:spPr>
          <a:xfrm>
            <a:off x="6010102" y="3350029"/>
            <a:ext cx="6173585" cy="3507961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8EB774F-D493-4254-A24C-E9681757802C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01C3E-6DDF-C561-ADB5-64AA2B167D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4198939"/>
            <a:ext cx="7102475" cy="2038350"/>
          </a:xfrm>
          <a:prstGeom prst="rect">
            <a:avLst/>
          </a:prstGeom>
        </p:spPr>
        <p:txBody>
          <a:bodyPr vert="horz" tIns="144000" anchor="b">
            <a:noAutofit/>
          </a:bodyPr>
          <a:lstStyle>
            <a:lvl1pPr>
              <a:lnSpc>
                <a:spcPct val="90000"/>
              </a:lnSpc>
              <a:defRPr lang="en-US" sz="5000" b="1" i="0" kern="0" spc="-150" noProof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Very Important </a:t>
            </a:r>
            <a:br>
              <a:rPr lang="bg-BG"/>
            </a:br>
            <a:r>
              <a:rPr lang="en-US"/>
              <a:t>Message / Statement </a:t>
            </a:r>
            <a:br>
              <a:rPr lang="bg-BG"/>
            </a:br>
            <a:r>
              <a:rPr lang="en-US"/>
              <a:t>/ Conclus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D8F5FC-90D4-26E2-2807-DC1F22B25176}"/>
              </a:ext>
            </a:extLst>
          </p:cNvPr>
          <p:cNvSpPr txBox="1"/>
          <p:nvPr userDrawn="1"/>
        </p:nvSpPr>
        <p:spPr>
          <a:xfrm>
            <a:off x="20929600" y="28651200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339E9BE-AB7A-2053-4DFF-C0D98D6232E8}"/>
              </a:ext>
            </a:extLst>
          </p:cNvPr>
          <p:cNvSpPr txBox="1"/>
          <p:nvPr userDrawn="1"/>
        </p:nvSpPr>
        <p:spPr>
          <a:xfrm>
            <a:off x="20482560" y="-10546080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C2906BBF-60CE-452D-63A5-4A0FC2ADC0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766B965-6DEE-2D9F-3B6E-122C01D4C243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5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4133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Slide 2">
    <p:bg>
      <p:bgPr>
        <a:solidFill>
          <a:srgbClr val="00B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CF8A3091-6DB8-DCBF-D10D-5CB65CF881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2" b="1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8EB774F-D493-4254-A24C-E9681757802C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01C3E-6DDF-C561-ADB5-64AA2B167D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4198939"/>
            <a:ext cx="7102475" cy="2038350"/>
          </a:xfrm>
          <a:prstGeom prst="rect">
            <a:avLst/>
          </a:prstGeom>
        </p:spPr>
        <p:txBody>
          <a:bodyPr vert="horz" tIns="144000" anchor="b">
            <a:noAutofit/>
          </a:bodyPr>
          <a:lstStyle>
            <a:lvl1pPr>
              <a:lnSpc>
                <a:spcPct val="90000"/>
              </a:lnSpc>
              <a:defRPr lang="en-US" sz="5000" b="1" i="0" kern="0" spc="-150" noProof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Very Important </a:t>
            </a:r>
            <a:br>
              <a:rPr lang="bg-BG"/>
            </a:br>
            <a:r>
              <a:rPr lang="en-US"/>
              <a:t>Message / Statement </a:t>
            </a:r>
            <a:br>
              <a:rPr lang="bg-BG"/>
            </a:br>
            <a:r>
              <a:rPr lang="en-US"/>
              <a:t>/ Conclus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D8F5FC-90D4-26E2-2807-DC1F22B25176}"/>
              </a:ext>
            </a:extLst>
          </p:cNvPr>
          <p:cNvSpPr txBox="1"/>
          <p:nvPr userDrawn="1"/>
        </p:nvSpPr>
        <p:spPr>
          <a:xfrm>
            <a:off x="20929600" y="28651200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339E9BE-AB7A-2053-4DFF-C0D98D6232E8}"/>
              </a:ext>
            </a:extLst>
          </p:cNvPr>
          <p:cNvSpPr txBox="1"/>
          <p:nvPr userDrawn="1"/>
        </p:nvSpPr>
        <p:spPr>
          <a:xfrm>
            <a:off x="20482560" y="-10546080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F2E64471-9F7C-3798-F442-86CB17C562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B196753-5C57-BAD0-EA7E-3AF34D839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52" t="21844" r="49797" b="30528"/>
          <a:stretch/>
        </p:blipFill>
        <p:spPr>
          <a:xfrm rot="14400000">
            <a:off x="6285791" y="-1569976"/>
            <a:ext cx="6833061" cy="621845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DEE4A75-5F30-D080-1DA5-568A17D30BCC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5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123367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DE9F7"/>
          </a:solidFill>
        </p:spPr>
        <p:txBody>
          <a:bodyPr vert="horz" lIns="91440" tIns="72000" rIns="91440" bIns="756000" rtlCol="0" anchor="ctr">
            <a:noAutofit/>
          </a:bodyPr>
          <a:lstStyle>
            <a:lvl1pPr algn="ctr">
              <a:defRPr lang="id-ID" sz="18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8860508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71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097676-D6A1-2D4B-BDD3-E7E914641366}"/>
              </a:ext>
            </a:extLst>
          </p:cNvPr>
          <p:cNvSpPr txBox="1"/>
          <p:nvPr userDrawn="1"/>
        </p:nvSpPr>
        <p:spPr>
          <a:xfrm>
            <a:off x="722313" y="1780674"/>
            <a:ext cx="10747374" cy="44490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C9353E-244A-3B4E-B54E-FCA42C0733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63725"/>
            <a:ext cx="10747375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7865173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7205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5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31029E73-BFE8-B8C1-B83C-C04F70E76A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63725"/>
            <a:ext cx="10747375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915254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i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11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1AA0DB6-5A8E-3741-A2E5-D936D902DD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973" y="4846683"/>
            <a:ext cx="5278437" cy="38855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ED3701CF-5DFA-EE46-92C6-82EBEFFD8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8973" y="5312130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08E4E795-5B28-AA4F-9CA0-12577F806A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973" y="5771692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8" name="Title 3">
            <a:extLst>
              <a:ext uri="{FF2B5EF4-FFF2-40B4-BE49-F238E27FC236}">
                <a16:creationId xmlns:a16="http://schemas.microsoft.com/office/drawing/2014/main" id="{9EE63D74-8A47-0A4F-A4FD-DE60CD33A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72" y="2133600"/>
            <a:ext cx="5294311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77BE795C-072A-459C-8648-8D68BC93FAA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26315" y="745314"/>
            <a:ext cx="1341526" cy="31117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B76E93-9883-F34D-AFCA-0B3B569868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3" y="3356068"/>
            <a:ext cx="5294312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 err="1"/>
              <a:t>Subheadline</a:t>
            </a:r>
            <a:endParaRPr lang="en-BG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E62990B-F803-5D9B-62E6-BC8BD007433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02087" y="2082677"/>
            <a:ext cx="4349237" cy="5003669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20F176AF-19D0-9F1E-9FBE-D899F0CCBDE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30705" y="1130306"/>
            <a:ext cx="4567382" cy="524908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92A3BA3-5E9B-E1ED-64C7-CA631EFA8FF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92243" y="1040729"/>
            <a:ext cx="4608283" cy="5303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688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5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1322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411003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F940FE-8CAB-BB3A-3E38-B86FD66038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718873" y="3214896"/>
            <a:ext cx="6476628" cy="36431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69951F-ED4C-C940-B5BF-D5511A5CD9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4" y="538163"/>
            <a:ext cx="7869894" cy="1139825"/>
          </a:xfrm>
        </p:spPr>
        <p:txBody>
          <a:bodyPr tIns="108000"/>
          <a:lstStyle/>
          <a:p>
            <a:r>
              <a:rPr lang="en-GB"/>
              <a:t>Simple Bullet List</a:t>
            </a:r>
            <a:endParaRPr lang="en-BG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FE1C11C-18E9-2B2E-C6D2-D6980ACE5DE0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202505-C4F2-045D-74CA-5F4E2B26BCE7}"/>
              </a:ext>
            </a:extLst>
          </p:cNvPr>
          <p:cNvSpPr txBox="1"/>
          <p:nvPr userDrawn="1"/>
        </p:nvSpPr>
        <p:spPr>
          <a:xfrm>
            <a:off x="4507424" y="6554396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© </a:t>
            </a:r>
            <a:r>
              <a:rPr lang="en-US" sz="600">
                <a:solidFill>
                  <a:srgbClr val="7F7F7F"/>
                </a:solidFill>
                <a:latin typeface="Arial"/>
                <a:cs typeface="Arial"/>
              </a:rPr>
              <a:t>2025</a:t>
            </a:r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 </a:t>
            </a:r>
            <a:r>
              <a:rPr lang="en-US" sz="600" b="0" i="0" spc="0" baseline="0">
                <a:solidFill>
                  <a:srgbClr val="7F7F7F"/>
                </a:solidFill>
                <a:latin typeface="Arial"/>
                <a:cs typeface="Arial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 Software Corporation and/or its subsidiaries or affiliates. All rights reserved.</a:t>
            </a:r>
          </a:p>
        </p:txBody>
      </p:sp>
      <p:pic>
        <p:nvPicPr>
          <p:cNvPr id="7" name="Picture 2">
            <a:hlinkClick r:id="rId3"/>
            <a:extLst>
              <a:ext uri="{FF2B5EF4-FFF2-40B4-BE49-F238E27FC236}">
                <a16:creationId xmlns:a16="http://schemas.microsoft.com/office/drawing/2014/main" id="{5E1C4C61-DE5F-D0DE-F7FE-9C3B4D7D021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C6CC5C6C-69CB-AE61-6504-5E2B36EAAC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63725"/>
            <a:ext cx="7869895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11367462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2D926C9-4396-92AF-3273-CF549EF21E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" y="7434"/>
            <a:ext cx="12191999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71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097676-D6A1-2D4B-BDD3-E7E914641366}"/>
              </a:ext>
            </a:extLst>
          </p:cNvPr>
          <p:cNvSpPr txBox="1"/>
          <p:nvPr userDrawn="1"/>
        </p:nvSpPr>
        <p:spPr>
          <a:xfrm>
            <a:off x="722313" y="1780674"/>
            <a:ext cx="10747374" cy="44490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C9353E-244A-3B4E-B54E-FCA42C0733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63725"/>
            <a:ext cx="10747375" cy="4365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C906B93-0B67-D520-248C-5443B567E368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9B03E04-C70F-668B-90D3-1F93E7AD33A7}"/>
              </a:ext>
            </a:extLst>
          </p:cNvPr>
          <p:cNvSpPr txBox="1"/>
          <p:nvPr userDrawn="1"/>
        </p:nvSpPr>
        <p:spPr>
          <a:xfrm>
            <a:off x="4507424" y="6554396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© </a:t>
            </a:r>
            <a:r>
              <a:rPr lang="en-US" sz="600">
                <a:solidFill>
                  <a:srgbClr val="7F7F7F"/>
                </a:solidFill>
                <a:latin typeface="Arial"/>
                <a:cs typeface="Arial"/>
              </a:rPr>
              <a:t>2025</a:t>
            </a:r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 </a:t>
            </a:r>
            <a:r>
              <a:rPr lang="en-US" sz="600" b="0" i="0" spc="0" baseline="0">
                <a:solidFill>
                  <a:srgbClr val="7F7F7F"/>
                </a:solidFill>
                <a:latin typeface="Arial"/>
                <a:cs typeface="Arial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 Software Corporation and/or its subsidiaries or affiliates. All rights reserved.</a:t>
            </a:r>
          </a:p>
        </p:txBody>
      </p:sp>
      <p:pic>
        <p:nvPicPr>
          <p:cNvPr id="8" name="Picture 2">
            <a:hlinkClick r:id="rId6"/>
            <a:extLst>
              <a:ext uri="{FF2B5EF4-FFF2-40B4-BE49-F238E27FC236}">
                <a16:creationId xmlns:a16="http://schemas.microsoft.com/office/drawing/2014/main" id="{E7C3ABA5-60A2-419C-88B5-B52E35110A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2558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no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hape, background pattern&#10;&#10;Description automatically generated">
            <a:extLst>
              <a:ext uri="{FF2B5EF4-FFF2-40B4-BE49-F238E27FC236}">
                <a16:creationId xmlns:a16="http://schemas.microsoft.com/office/drawing/2014/main" id="{94E4CBA0-29F5-8CBA-1FC4-51765EFA5F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0" y="8313"/>
            <a:ext cx="12189533" cy="6859388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674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7">
            <a:extLst>
              <a:ext uri="{FF2B5EF4-FFF2-40B4-BE49-F238E27FC236}">
                <a16:creationId xmlns:a16="http://schemas.microsoft.com/office/drawing/2014/main" id="{E8A4E56D-3AE5-7962-7465-578B476C3D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7031036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F634A4-87E7-F1DE-6B21-CED0EFD60A53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D60B39-C159-9FA0-727A-913C6331A138}"/>
              </a:ext>
            </a:extLst>
          </p:cNvPr>
          <p:cNvSpPr txBox="1"/>
          <p:nvPr userDrawn="1"/>
        </p:nvSpPr>
        <p:spPr>
          <a:xfrm>
            <a:off x="4024470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5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pic>
        <p:nvPicPr>
          <p:cNvPr id="8" name="Picture 2">
            <a:hlinkClick r:id="rId6"/>
            <a:extLst>
              <a:ext uri="{FF2B5EF4-FFF2-40B4-BE49-F238E27FC236}">
                <a16:creationId xmlns:a16="http://schemas.microsoft.com/office/drawing/2014/main" id="{FFD1F83E-1738-F350-CDC8-88B36B6351D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2CE5BB6-4E8C-6747-39D0-BD72F525BD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63725"/>
            <a:ext cx="7869895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15098376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197306C-DFA1-869B-47F1-E95A7B90F8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718873" y="3222330"/>
            <a:ext cx="6476628" cy="3643104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1322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3309" y="538163"/>
            <a:ext cx="8106377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5627746-B38D-97E9-850E-555A4176B5DB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>
            <a:hlinkClick r:id="rId6"/>
            <a:extLst>
              <a:ext uri="{FF2B5EF4-FFF2-40B4-BE49-F238E27FC236}">
                <a16:creationId xmlns:a16="http://schemas.microsoft.com/office/drawing/2014/main" id="{4BB347AD-D128-4D84-46CF-37C37662B1C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E63AA0A-B306-65ED-E3C1-8084A7F8B454}"/>
              </a:ext>
            </a:extLst>
          </p:cNvPr>
          <p:cNvSpPr txBox="1"/>
          <p:nvPr userDrawn="1"/>
        </p:nvSpPr>
        <p:spPr>
          <a:xfrm>
            <a:off x="4507424" y="6554396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© </a:t>
            </a:r>
            <a:r>
              <a:rPr lang="en-US" sz="600">
                <a:solidFill>
                  <a:srgbClr val="7F7F7F"/>
                </a:solidFill>
                <a:latin typeface="Arial"/>
                <a:cs typeface="Arial"/>
              </a:rPr>
              <a:t>2025</a:t>
            </a:r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 </a:t>
            </a:r>
            <a:r>
              <a:rPr lang="en-US" sz="600" b="0" i="0" spc="0" baseline="0">
                <a:solidFill>
                  <a:srgbClr val="7F7F7F"/>
                </a:solidFill>
                <a:latin typeface="Arial"/>
                <a:cs typeface="Arial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 Software Corporation and/or its subsidiaries or affiliates. All rights reserved.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C1D4EB1-7C2A-BD4C-8F7A-E96B43158F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63309" y="1863725"/>
            <a:ext cx="8106379" cy="4365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54C64D19-1AF7-2E9D-2E64-6EB2F1BA6D6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15" y="0"/>
            <a:ext cx="2757325" cy="6117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3895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Body Left Hel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FECC08-5435-D5E7-7D7B-6357613B74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8946" y="365281"/>
            <a:ext cx="8060741" cy="131270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BG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1EDA75D-6682-E19E-2FE5-2F3C126C80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-23823" t="57898" r="37449" b="2507"/>
          <a:stretch/>
        </p:blipFill>
        <p:spPr>
          <a:xfrm rot="10800000">
            <a:off x="0" y="1016016"/>
            <a:ext cx="4495218" cy="584198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2BE96A6-9014-E12B-BCEB-A75C1F29FE9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2D0404E3-46E5-5995-07C0-14E54B2E61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8947" y="1863725"/>
            <a:ext cx="8060741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295944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Body Left Helix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250BA6B-F5A2-9C3B-17CF-8036B67713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57131" r="40943" b="2630"/>
          <a:stretch/>
        </p:blipFill>
        <p:spPr>
          <a:xfrm rot="10800000">
            <a:off x="0" y="0"/>
            <a:ext cx="342290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DFECC08-5435-D5E7-7D7B-6357613B74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8946" y="365281"/>
            <a:ext cx="8060741" cy="131270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BG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2BE96A6-9014-E12B-BCEB-A75C1F29FE9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2D0404E3-46E5-5995-07C0-14E54B2E61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8947" y="1863725"/>
            <a:ext cx="8060741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9267151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ody Left Helix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250BA6B-F5A2-9C3B-17CF-8036B67713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54" t="57808" r="47485" b="2682"/>
          <a:stretch/>
        </p:blipFill>
        <p:spPr>
          <a:xfrm rot="10800000">
            <a:off x="0" y="0"/>
            <a:ext cx="342290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DFECC08-5435-D5E7-7D7B-6357613B74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8946" y="365281"/>
            <a:ext cx="8060741" cy="131270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2D0404E3-46E5-5995-07C0-14E54B2E61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8947" y="1863725"/>
            <a:ext cx="8060741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  <p:pic>
        <p:nvPicPr>
          <p:cNvPr id="3" name="Picture 2">
            <a:hlinkClick r:id="rId4"/>
            <a:extLst>
              <a:ext uri="{FF2B5EF4-FFF2-40B4-BE49-F238E27FC236}">
                <a16:creationId xmlns:a16="http://schemas.microsoft.com/office/drawing/2014/main" id="{7F9B60FA-A1DE-EAA2-987C-6AA3D2B1C87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8568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2058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6C447A6B-E87C-9A42-8E46-8CE8E1730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4"/>
            <a:ext cx="6861651" cy="1130526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D159B53-8600-873A-F790-FDA958551469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6A0A0B8-24FC-803B-5D55-A458832A27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36655" y="0"/>
            <a:ext cx="3653090" cy="6858000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66EA565F-28DA-869B-8AA6-617FEE137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2313" y="1863725"/>
            <a:ext cx="6859587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43450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2058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6C447A6B-E87C-9A42-8E46-8CE8E1730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4"/>
            <a:ext cx="6766507" cy="1130526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D3E73D0-9FBE-71EC-AE4A-1C4A9AFB3AE3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F40EB90-92BB-4342-A8D9-FD570C9801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35476" y="0"/>
            <a:ext cx="3658165" cy="6858000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868DACA-82D3-785E-22EB-028DD7DFCE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2313" y="1863725"/>
            <a:ext cx="6859587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0471169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 No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11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">
            <a:extLst>
              <a:ext uri="{FF2B5EF4-FFF2-40B4-BE49-F238E27FC236}">
                <a16:creationId xmlns:a16="http://schemas.microsoft.com/office/drawing/2014/main" id="{77BE795C-072A-459C-8648-8D68BC93FAA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26315" y="745314"/>
            <a:ext cx="1341526" cy="311178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9036C18-8578-F994-7F32-E08209733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973" y="4846683"/>
            <a:ext cx="5278437" cy="38855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F9BCBC6-C555-49A7-B6CC-40448EBEA6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8973" y="5312130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B18D21E-5600-A11C-8926-6903DA6D7A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973" y="5771692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C1F6A93-FBEC-F6A4-124A-D2BD78FAB0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170"/>
          <a:stretch/>
        </p:blipFill>
        <p:spPr>
          <a:xfrm>
            <a:off x="6807200" y="-80211"/>
            <a:ext cx="5384800" cy="6935036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C559C577-E563-BB16-9FE2-85D1C46329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72" y="2133600"/>
            <a:ext cx="5294311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7C3263-C9E8-ABEC-2A86-8F495EC674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3" y="3356068"/>
            <a:ext cx="5294312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 err="1"/>
              <a:t>Subheadlin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3096935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g Cloud Slide">
    <p:bg>
      <p:bgPr>
        <a:solidFill>
          <a:srgbClr val="4A41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3E82239A-1D95-E888-94E7-192C645D81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" b="6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71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9F03F98-CED0-0CDD-E747-E3400399AC43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3">
            <a:extLst>
              <a:ext uri="{FF2B5EF4-FFF2-40B4-BE49-F238E27FC236}">
                <a16:creationId xmlns:a16="http://schemas.microsoft.com/office/drawing/2014/main" id="{193623FD-4152-62AB-65C8-94A597A272B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C0AB83-6402-E974-8952-C7EABC0731F1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5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146172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356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A1E54A24-0A79-4645-95BB-872276B99F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600" y="538163"/>
            <a:ext cx="10746088" cy="1139825"/>
          </a:xfrm>
        </p:spPr>
        <p:txBody>
          <a:bodyPr vert="horz"/>
          <a:lstStyle/>
          <a:p>
            <a:r>
              <a:rPr lang="en-GB"/>
              <a:t>Click to edit Master title style</a:t>
            </a:r>
            <a:br>
              <a:rPr lang="en-GB"/>
            </a:br>
            <a:r>
              <a:rPr lang="en-GB"/>
              <a:t>Two Column Style</a:t>
            </a:r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4A7AE83-B9C1-1D4E-9469-01C3D28EF6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92838" y="1863725"/>
            <a:ext cx="5276850" cy="4438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950440E8-0E6A-8A19-C566-EBCEFBCF742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2313" y="1863725"/>
            <a:ext cx="5373687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9719639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1382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3B4A0B0-544B-4680-B496-7634409EEF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10746088" cy="1139825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124C9F4-9F1E-5D4F-8CC2-BAA0F34CFB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1" y="1851949"/>
            <a:ext cx="3459164" cy="4450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28A142A-B0F7-C544-B3CD-9A6546563D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8709" y="1851949"/>
            <a:ext cx="3459164" cy="4450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8E67F24-9CF1-9547-BD5E-84589B31B4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10527" y="1851949"/>
            <a:ext cx="3459161" cy="4450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13465839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8293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3B29C63-2AD6-4DE5-B0A2-CB6E5C4AD9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10746088" cy="1139825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7A8F6A1-E4E4-4646-933F-3032F97511D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2313" y="1857737"/>
            <a:ext cx="2528887" cy="4444638"/>
          </a:xfrm>
        </p:spPr>
        <p:txBody>
          <a:bodyPr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/>
            </a:lvl1pPr>
            <a:lvl2pPr marL="225425" indent="0">
              <a:buNone/>
              <a:defRPr/>
            </a:lvl2pPr>
            <a:lvl3pPr marL="447675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3A8B205-3828-1A4D-9D4B-309BF2F3FF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46660" y="1857737"/>
            <a:ext cx="2554090" cy="4444638"/>
          </a:xfrm>
        </p:spPr>
        <p:txBody>
          <a:bodyPr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/>
            </a:lvl1pPr>
            <a:lvl2pPr marL="225425" indent="0">
              <a:buNone/>
              <a:defRPr/>
            </a:lvl2pPr>
            <a:lvl3pPr marL="447675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4C483FE-70FF-7041-9119-FDE32D70CA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71006" y="1857737"/>
            <a:ext cx="2554090" cy="4444638"/>
          </a:xfrm>
        </p:spPr>
        <p:txBody>
          <a:bodyPr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/>
            </a:lvl1pPr>
            <a:lvl2pPr marL="225425" indent="0">
              <a:buNone/>
              <a:defRPr/>
            </a:lvl2pPr>
            <a:lvl3pPr marL="447675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6086923-DD39-8546-9401-95099CDCAA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23633" y="1857737"/>
            <a:ext cx="2554090" cy="4444638"/>
          </a:xfrm>
        </p:spPr>
        <p:txBody>
          <a:bodyPr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/>
            </a:lvl1pPr>
            <a:lvl2pPr marL="225425" indent="0">
              <a:buNone/>
              <a:defRPr/>
            </a:lvl2pPr>
            <a:lvl3pPr marL="447675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68382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9951F-ED4C-C940-B5BF-D5511A5CD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8010525" cy="909637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5F93B13-79C7-D043-BA6B-61F781D9B5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1677988"/>
            <a:ext cx="5278437" cy="455611"/>
          </a:xfrm>
        </p:spPr>
        <p:txBody>
          <a:bodyPr/>
          <a:lstStyle>
            <a:lvl1pPr marL="0" indent="0">
              <a:buNone/>
              <a:defRPr b="1" i="0" spc="-1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Topic 1</a:t>
            </a:r>
            <a:endParaRPr lang="en-BG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C55D09-8538-334E-A1E1-71B22D8027B5}"/>
              </a:ext>
            </a:extLst>
          </p:cNvPr>
          <p:cNvSpPr txBox="1"/>
          <p:nvPr userDrawn="1"/>
        </p:nvSpPr>
        <p:spPr>
          <a:xfrm>
            <a:off x="2151529" y="1882588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67CE013-E7C8-B849-A3FC-A0574A8A9A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7283" y="1677988"/>
            <a:ext cx="5278437" cy="455611"/>
          </a:xfrm>
        </p:spPr>
        <p:txBody>
          <a:bodyPr/>
          <a:lstStyle>
            <a:lvl1pPr marL="0" indent="0">
              <a:buNone/>
              <a:defRPr b="1" i="0" spc="-1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Topic 2</a:t>
            </a:r>
            <a:endParaRPr lang="en-BG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148B8A9-EDCF-FE41-AFC9-FAEC5D5C7BB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3900" y="2362200"/>
            <a:ext cx="5276850" cy="3875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B97B37-7995-DB4F-ACD9-6F4ED7D806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82020" y="2362200"/>
            <a:ext cx="5276850" cy="3875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791945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9951F-ED4C-C940-B5BF-D5511A5CD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7102475" cy="909637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4E6BE96-7B0A-F94A-B96E-1C7E0D03F3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2313" y="2226366"/>
            <a:ext cx="3459162" cy="4010922"/>
          </a:xfrm>
        </p:spPr>
        <p:txBody>
          <a:bodyPr tIns="36000"/>
          <a:lstStyle>
            <a:lvl1pPr marL="0" indent="0">
              <a:lnSpc>
                <a:spcPct val="120000"/>
              </a:lnSpc>
              <a:buNone/>
              <a:defRPr sz="2000" b="0" i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ontrary to popular belief, Lorem Ipsum is not simply random text. It has roots in a piece of classical Latin literature from 45 BC, making it over 2000 years old.</a:t>
            </a:r>
            <a:endParaRPr lang="en-BG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F9D9998-0CE0-0441-A69C-96949640553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9275" y="2226366"/>
            <a:ext cx="3467099" cy="4010922"/>
          </a:xfrm>
        </p:spPr>
        <p:txBody>
          <a:bodyPr tIns="36000"/>
          <a:lstStyle>
            <a:lvl1pPr marL="0" indent="0">
              <a:lnSpc>
                <a:spcPct val="120000"/>
              </a:lnSpc>
              <a:buNone/>
              <a:defRPr sz="2000" b="0" i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ontrary to popular belief, Lorem Ipsum is not simply random text. It has roots in a piece of classical Latin literature from 45 BC, making it over 2000 years old</a:t>
            </a:r>
            <a:endParaRPr lang="en-BG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C25D13-53AB-804E-8F48-9FEEE4C8F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02588" y="2226366"/>
            <a:ext cx="3467099" cy="4010922"/>
          </a:xfrm>
        </p:spPr>
        <p:txBody>
          <a:bodyPr tIns="36000"/>
          <a:lstStyle>
            <a:lvl1pPr marL="0" indent="0">
              <a:lnSpc>
                <a:spcPct val="120000"/>
              </a:lnSpc>
              <a:buNone/>
              <a:defRPr sz="2000" b="0" i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ontrary to popular belief, Lorem Ipsum is not simply random text. It has roots in a piece of classical Latin literature from 45 BC, making it over 2000 years old.</a:t>
            </a:r>
            <a:endParaRPr lang="en-BG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26DDAF-094D-974B-82E0-4E14EC03BAE4}"/>
              </a:ext>
            </a:extLst>
          </p:cNvPr>
          <p:cNvSpPr txBox="1"/>
          <p:nvPr userDrawn="1"/>
        </p:nvSpPr>
        <p:spPr>
          <a:xfrm>
            <a:off x="2624866" y="1947134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291E0E34-AD4F-0F47-AF74-1B26AAD2B2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1568658"/>
            <a:ext cx="7102475" cy="474150"/>
          </a:xfrm>
        </p:spPr>
        <p:txBody>
          <a:bodyPr/>
          <a:lstStyle>
            <a:lvl1pPr marL="0" indent="0">
              <a:buNone/>
              <a:defRPr b="0" i="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err="1"/>
              <a:t>Subheadlin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41373129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726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348BA764-5690-C74C-98C8-5AD362BFC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5278437" cy="1139825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D214D3DB-DB34-F441-B966-C041056B08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98748" y="0"/>
            <a:ext cx="599325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5B3F9C52-3A71-4524-8B14-37E73BA412E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98BE631-707E-324E-A381-F3D99D052E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808922"/>
            <a:ext cx="5278437" cy="44283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CB971A-E2FD-954D-BF76-66E98685F3A4}"/>
              </a:ext>
            </a:extLst>
          </p:cNvPr>
          <p:cNvSpPr txBox="1"/>
          <p:nvPr userDrawn="1"/>
        </p:nvSpPr>
        <p:spPr>
          <a:xfrm>
            <a:off x="28331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5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484629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0044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348BA764-5690-C74C-98C8-5AD362BFC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1252" y="538163"/>
            <a:ext cx="5278437" cy="1139825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D214D3DB-DB34-F441-B966-C041056B08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78085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CB16D7C-13E7-8F44-B567-E0CB454B81BD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D956066-0822-7C4E-B1F5-A5FF044796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88767" y="1808922"/>
            <a:ext cx="5278437" cy="44283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8103B8-912B-6840-91F6-51424D8F16B3}"/>
              </a:ext>
            </a:extLst>
          </p:cNvPr>
          <p:cNvSpPr txBox="1"/>
          <p:nvPr userDrawn="1"/>
        </p:nvSpPr>
        <p:spPr>
          <a:xfrm>
            <a:off x="6178550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5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404355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948DD2CE-C5C0-B638-578D-4AFEC1F6D9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 r="-21966"/>
          <a:stretch/>
        </p:blipFill>
        <p:spPr>
          <a:xfrm>
            <a:off x="-1" y="-4"/>
            <a:ext cx="5741581" cy="6858001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1393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aphic 10">
            <a:extLst>
              <a:ext uri="{FF2B5EF4-FFF2-40B4-BE49-F238E27FC236}">
                <a16:creationId xmlns:a16="http://schemas.microsoft.com/office/drawing/2014/main" id="{3A6E4564-0AFD-394C-86C5-9468022082D4}"/>
              </a:ext>
            </a:extLst>
          </p:cNvPr>
          <p:cNvGrpSpPr/>
          <p:nvPr userDrawn="1"/>
        </p:nvGrpSpPr>
        <p:grpSpPr>
          <a:xfrm>
            <a:off x="5173278" y="538163"/>
            <a:ext cx="2554288" cy="1464044"/>
            <a:chOff x="7355176" y="1247511"/>
            <a:chExt cx="2101340" cy="1204427"/>
          </a:xfrm>
          <a:solidFill>
            <a:srgbClr val="008963"/>
          </a:solidFill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E94DD7A-9189-4548-B3D7-D71AED474814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grpFill/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CDEC9423-D3E3-AC4E-8565-1B8DA4881327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grpFill/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589BE5-6A57-8F4D-9D8C-C52E1A5664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9529" y="2133601"/>
            <a:ext cx="6270160" cy="3201988"/>
          </a:xfrm>
        </p:spPr>
        <p:txBody>
          <a:bodyPr tIns="108000"/>
          <a:lstStyle>
            <a:lvl1pPr marL="0" indent="0">
              <a:lnSpc>
                <a:spcPct val="80000"/>
              </a:lnSpc>
              <a:buNone/>
              <a:defRPr sz="4000" b="1" spc="-1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Quote Slide, Enter Quote Here.”</a:t>
            </a:r>
          </a:p>
          <a:p>
            <a:pPr lvl="0"/>
            <a:endParaRPr lang="en-GB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15FBD6B-2193-5748-97C2-9D65081F37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8287" y="5584345"/>
            <a:ext cx="6278116" cy="414323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F18DBE1-9B92-D54B-A7D7-214D918E2C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98287" y="5998670"/>
            <a:ext cx="6278116" cy="321052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795217E5-E444-2F42-BDF3-093FC00C6F30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1190F6A3-E932-A24A-9953-B1E4E911E0F0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B7BD70-621C-CC49-8746-9DC52C4D35B9}"/>
              </a:ext>
            </a:extLst>
          </p:cNvPr>
          <p:cNvSpPr txBox="1"/>
          <p:nvPr userDrawn="1"/>
        </p:nvSpPr>
        <p:spPr>
          <a:xfrm>
            <a:off x="5202387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5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AC06D23-923F-E339-D21B-9D21B2543C42}"/>
              </a:ext>
            </a:extLst>
          </p:cNvPr>
          <p:cNvSpPr txBox="1"/>
          <p:nvPr userDrawn="1"/>
        </p:nvSpPr>
        <p:spPr>
          <a:xfrm>
            <a:off x="20443371" y="8098971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29" name="Picture 3">
            <a:extLst>
              <a:ext uri="{FF2B5EF4-FFF2-40B4-BE49-F238E27FC236}">
                <a16:creationId xmlns:a16="http://schemas.microsoft.com/office/drawing/2014/main" id="{C56B1144-540E-1191-631D-F015DF9B66B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1291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84872374-72A7-7A45-ABE4-B1FF923979E4}"/>
              </a:ext>
            </a:extLst>
          </p:cNvPr>
          <p:cNvSpPr/>
          <p:nvPr userDrawn="1"/>
        </p:nvSpPr>
        <p:spPr>
          <a:xfrm>
            <a:off x="6109382" y="0"/>
            <a:ext cx="6082618" cy="6858000"/>
          </a:xfrm>
          <a:prstGeom prst="rect">
            <a:avLst/>
          </a:prstGeom>
          <a:solidFill>
            <a:srgbClr val="5573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F3E9104-9807-FDF1-7511-0C4BA60547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491" b="491"/>
          <a:stretch/>
        </p:blipFill>
        <p:spPr>
          <a:xfrm>
            <a:off x="6109382" y="0"/>
            <a:ext cx="6082618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3233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FE70C55F-FA1C-E44F-B935-846720A2D1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0938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FE956ECD-98A7-BB48-AD4E-41CD7BA5A6AA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341D0F29-2B64-464A-AF00-6DC7474EA211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CAF5AAA1-BBCB-40FE-8286-4581A3B9842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grpSp>
        <p:nvGrpSpPr>
          <p:cNvPr id="23" name="Graphic 10">
            <a:extLst>
              <a:ext uri="{FF2B5EF4-FFF2-40B4-BE49-F238E27FC236}">
                <a16:creationId xmlns:a16="http://schemas.microsoft.com/office/drawing/2014/main" id="{5B7617CC-6FDB-EA47-A30B-F937416FF4A3}"/>
              </a:ext>
            </a:extLst>
          </p:cNvPr>
          <p:cNvGrpSpPr/>
          <p:nvPr userDrawn="1"/>
        </p:nvGrpSpPr>
        <p:grpSpPr>
          <a:xfrm>
            <a:off x="6275809" y="1144506"/>
            <a:ext cx="1421987" cy="786516"/>
            <a:chOff x="7352293" y="1247383"/>
            <a:chExt cx="2104797" cy="1205446"/>
          </a:xfrm>
          <a:solidFill>
            <a:schemeClr val="accent4"/>
          </a:solidFill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102DEC17-749A-5745-A3C8-8A951CB042CD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grpFill/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solidFill>
                  <a:srgbClr val="CDFFC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0DCD6703-F5A1-2C43-8B04-5009508CED50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grpFill/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solidFill>
                  <a:srgbClr val="CDFFC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575823E-4AE2-E44E-AE42-22F39C525D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78421" y="6027738"/>
            <a:ext cx="4891267" cy="315387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85BA675-54BD-2446-AC6B-564132E6194A}"/>
              </a:ext>
            </a:extLst>
          </p:cNvPr>
          <p:cNvSpPr txBox="1"/>
          <p:nvPr userDrawn="1"/>
        </p:nvSpPr>
        <p:spPr>
          <a:xfrm>
            <a:off x="6578421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5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A0A3F1FD-95F0-2948-9D5D-3521866F62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8421" y="5571495"/>
            <a:ext cx="4891267" cy="434001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F1425309-3F12-D09E-2726-8CE0FEA705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421" y="2133601"/>
            <a:ext cx="4891268" cy="3201988"/>
          </a:xfrm>
        </p:spPr>
        <p:txBody>
          <a:bodyPr tIns="108000"/>
          <a:lstStyle>
            <a:lvl1pPr marL="0" indent="0">
              <a:lnSpc>
                <a:spcPct val="80000"/>
              </a:lnSpc>
              <a:buNone/>
              <a:defRPr sz="4000" b="1" spc="-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Quote Slide, Enter Quote Here.”</a:t>
            </a:r>
          </a:p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46711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 No Photo">
    <p:bg>
      <p:bgPr>
        <a:solidFill>
          <a:schemeClr val="bg1">
            <a:alpha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11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AFE9A584-67A4-F159-B817-D0B9351FB0B6}"/>
              </a:ext>
            </a:extLst>
          </p:cNvPr>
          <p:cNvSpPr txBox="1"/>
          <p:nvPr userDrawn="1"/>
        </p:nvSpPr>
        <p:spPr>
          <a:xfrm>
            <a:off x="-4231758" y="1998921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>
              <a:solidFill>
                <a:schemeClr val="bg1"/>
              </a:solidFill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B22FE11-4524-4AA3-E6C3-EF1C8C7C82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973" y="4846683"/>
            <a:ext cx="5278437" cy="38855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6E173C7-8A3B-8AF4-2897-F856A3774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8973" y="5312130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B27B160-C14E-EFE9-52E3-0F9F6E80F4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973" y="5771692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CEE710EE-4C07-586B-2806-D6AD33A6B22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26315" y="745314"/>
            <a:ext cx="1341526" cy="31117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BD91F1D-535D-954B-F99C-465475A436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02" t="-1100" b="-818"/>
          <a:stretch/>
        </p:blipFill>
        <p:spPr>
          <a:xfrm>
            <a:off x="6742444" y="-82297"/>
            <a:ext cx="5449556" cy="699644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2B42354-1090-D1A7-7DD2-CB059DCDE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72" y="2133600"/>
            <a:ext cx="5294311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EEA6684-FDDE-E5CF-06FE-C7326DA6BF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3" y="3356068"/>
            <a:ext cx="5294312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 err="1"/>
              <a:t>Subheadlin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339595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full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F9615A0-0E38-EA4B-A4CD-971B0012D7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45B2FD4-94CD-999B-43EA-3AF1C25DEA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1" t="-21668" b="1"/>
          <a:stretch/>
        </p:blipFill>
        <p:spPr>
          <a:xfrm>
            <a:off x="0" y="69551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8519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16F1C15D-96CD-B54C-9B65-84F58E5EFBB7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Graphic 10">
            <a:extLst>
              <a:ext uri="{FF2B5EF4-FFF2-40B4-BE49-F238E27FC236}">
                <a16:creationId xmlns:a16="http://schemas.microsoft.com/office/drawing/2014/main" id="{932DF292-4833-B247-953B-D4EA83227C77}"/>
              </a:ext>
            </a:extLst>
          </p:cNvPr>
          <p:cNvGrpSpPr/>
          <p:nvPr userDrawn="1"/>
        </p:nvGrpSpPr>
        <p:grpSpPr>
          <a:xfrm>
            <a:off x="757914" y="758595"/>
            <a:ext cx="2493286" cy="1429079"/>
            <a:chOff x="7355176" y="1247511"/>
            <a:chExt cx="2101340" cy="1204427"/>
          </a:xfrm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75D57D39-0B16-A64B-8443-72A68E313FB5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rgbClr val="CDFFCA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6FD022E-5944-DA47-BE61-7F1690CE160F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rgbClr val="CDFFCA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3CE5176-45CA-FA49-B95F-C93300B5B0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06699" y="4670326"/>
            <a:ext cx="4694052" cy="34693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B114C84-0226-6C4B-A9B5-4A50F19EA3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06699" y="5072956"/>
            <a:ext cx="4694052" cy="318328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46CB3B5-D1C7-900C-5370-31BEE27EE4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06698" y="2351624"/>
            <a:ext cx="9643800" cy="1825012"/>
          </a:xfrm>
        </p:spPr>
        <p:txBody>
          <a:bodyPr tIns="108000"/>
          <a:lstStyle>
            <a:lvl1pPr marL="0" indent="0">
              <a:lnSpc>
                <a:spcPct val="80000"/>
              </a:lnSpc>
              <a:buNone/>
              <a:defRPr sz="4400" b="1" spc="-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Quote Slide, Enter Quote Here.”</a:t>
            </a:r>
          </a:p>
          <a:p>
            <a:pPr lvl="0"/>
            <a:endParaRPr lang="en-GB"/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3CCC3C31-5E1F-2438-0D55-ADEB235974B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3FC5176-B1D4-803C-268D-700611909BF3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5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390425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full page 1">
    <p:bg>
      <p:bgPr>
        <a:solidFill>
          <a:srgbClr val="5573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F02BD20E-7A59-25FC-7538-117CC98F75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6" b="246"/>
          <a:stretch/>
        </p:blipFill>
        <p:spPr>
          <a:xfrm>
            <a:off x="-362" y="-11430"/>
            <a:ext cx="12212320" cy="686943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8519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16F1C15D-96CD-B54C-9B65-84F58E5EFBB7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Graphic 10">
            <a:extLst>
              <a:ext uri="{FF2B5EF4-FFF2-40B4-BE49-F238E27FC236}">
                <a16:creationId xmlns:a16="http://schemas.microsoft.com/office/drawing/2014/main" id="{932DF292-4833-B247-953B-D4EA83227C77}"/>
              </a:ext>
            </a:extLst>
          </p:cNvPr>
          <p:cNvGrpSpPr/>
          <p:nvPr userDrawn="1"/>
        </p:nvGrpSpPr>
        <p:grpSpPr>
          <a:xfrm>
            <a:off x="991905" y="1324220"/>
            <a:ext cx="1454087" cy="832775"/>
            <a:chOff x="7589417" y="1247383"/>
            <a:chExt cx="2104798" cy="1205446"/>
          </a:xfrm>
          <a:solidFill>
            <a:srgbClr val="5573ED"/>
          </a:solidFill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75D57D39-0B16-A64B-8443-72A68E313FB5}"/>
                </a:ext>
              </a:extLst>
            </p:cNvPr>
            <p:cNvSpPr/>
            <p:nvPr/>
          </p:nvSpPr>
          <p:spPr>
            <a:xfrm>
              <a:off x="7589417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grpFill/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6FD022E-5944-DA47-BE61-7F1690CE160F}"/>
                </a:ext>
              </a:extLst>
            </p:cNvPr>
            <p:cNvSpPr/>
            <p:nvPr/>
          </p:nvSpPr>
          <p:spPr>
            <a:xfrm>
              <a:off x="8697835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grpFill/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3CE5176-45CA-FA49-B95F-C93300B5B0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06699" y="4670326"/>
            <a:ext cx="4694052" cy="34693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B114C84-0226-6C4B-A9B5-4A50F19EA3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06699" y="5072956"/>
            <a:ext cx="4694052" cy="318328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46CB3B5-D1C7-900C-5370-31BEE27EE4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06698" y="2351624"/>
            <a:ext cx="9643800" cy="1825012"/>
          </a:xfrm>
        </p:spPr>
        <p:txBody>
          <a:bodyPr tIns="108000"/>
          <a:lstStyle>
            <a:lvl1pPr marL="0" indent="0">
              <a:lnSpc>
                <a:spcPct val="80000"/>
              </a:lnSpc>
              <a:buNone/>
              <a:defRPr sz="4400" b="1" spc="-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Quote Slide, Enter Quote Here.”</a:t>
            </a:r>
          </a:p>
          <a:p>
            <a:pPr lvl="0"/>
            <a:endParaRPr lang="en-GB"/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3CCC3C31-5E1F-2438-0D55-ADEB235974B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4B37300-A2D2-8D27-9F8B-1AB8224C04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628" t="21844" r="52124" b="55105"/>
          <a:stretch/>
        </p:blipFill>
        <p:spPr>
          <a:xfrm>
            <a:off x="6442365" y="3637303"/>
            <a:ext cx="5758262" cy="322069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DB29359-9662-7C2E-C731-43A96F8220A0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5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053991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tems list">
    <p:bg>
      <p:bgPr>
        <a:solidFill>
          <a:srgbClr val="F4F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4FCCA95E-2FC1-47A6-6A63-3E9A6342C1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570" t="30" r="2" b="82"/>
          <a:stretch/>
        </p:blipFill>
        <p:spPr>
          <a:xfrm>
            <a:off x="21266" y="7434"/>
            <a:ext cx="12192000" cy="686543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05CF0B4-CB31-1A50-D4A8-298CBB885BD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3136" y="3520699"/>
            <a:ext cx="5367598" cy="3337301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79DEE5-21BE-4808-BA4C-CB06842D7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6813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79DEE5-21BE-4808-BA4C-CB06842D7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D3C179-3A96-4AF2-8537-E4515FA2F2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600" y="538163"/>
            <a:ext cx="5277150" cy="1370012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3 Items / Features </a:t>
            </a:r>
            <a:br>
              <a:rPr lang="en-US"/>
            </a:br>
            <a:r>
              <a:rPr lang="en-US"/>
              <a:t>Illustrated Bullet List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2E99C1D-FECF-1A48-9EF7-1B84A71BCB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3656912"/>
            <a:ext cx="2853447" cy="2800902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A5EF1190-5546-9344-8150-9CFE9B58C8F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13" y="3001642"/>
            <a:ext cx="285344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1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16A0B128-769D-D245-8408-26CCA207BC1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10705" y="3001642"/>
            <a:ext cx="2874942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2</a:t>
            </a:r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5E8F70FE-71F1-1049-9CF2-2848562EF1A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14826" y="3001642"/>
            <a:ext cx="2882466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3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3C19AD2-A4A1-4544-935C-AFEE661EF76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705" y="3656911"/>
            <a:ext cx="2874942" cy="2800902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B07DDF4F-EBAE-AE44-900E-77CE0CF9BA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20592" y="3664943"/>
            <a:ext cx="2874942" cy="2800902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F08D86-7899-F842-CD0A-6EF47974EB85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© </a:t>
            </a:r>
            <a:r>
              <a:rPr lang="en-US" sz="600">
                <a:solidFill>
                  <a:srgbClr val="7F7F7F"/>
                </a:solidFill>
                <a:latin typeface="Arial"/>
                <a:cs typeface="Arial"/>
              </a:rPr>
              <a:t>2025</a:t>
            </a:r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 </a:t>
            </a:r>
            <a:r>
              <a:rPr lang="en-US" sz="600" b="0" i="0" spc="0" baseline="0">
                <a:solidFill>
                  <a:srgbClr val="7F7F7F"/>
                </a:solidFill>
                <a:latin typeface="Arial"/>
                <a:cs typeface="Arial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 Software Corporation and/or its subsidiaries or affiliates. All rights reserved.</a:t>
            </a:r>
          </a:p>
        </p:txBody>
      </p:sp>
      <p:pic>
        <p:nvPicPr>
          <p:cNvPr id="9" name="Picture 2">
            <a:hlinkClick r:id="rId7"/>
            <a:extLst>
              <a:ext uri="{FF2B5EF4-FFF2-40B4-BE49-F238E27FC236}">
                <a16:creationId xmlns:a16="http://schemas.microsoft.com/office/drawing/2014/main" id="{C871901E-BFBE-F30F-C727-EF029CB210E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94075" y="6453499"/>
            <a:ext cx="939600" cy="21098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4C7DCB2-7526-827A-0BFA-F84CADD7A0D2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tx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tx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69013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tems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25A317-569A-41B3-A3AE-1CBF90C53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1455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25A317-569A-41B3-A3AE-1CBF90C53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AEE74F99-8271-C34E-885E-3E090017D8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3524345"/>
            <a:ext cx="2528887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B721594E-7484-5E47-8564-98DE9C29C2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13" y="2915975"/>
            <a:ext cx="252888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1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B1B99D54-15E5-9A44-BD9F-CDC7FA006D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52813" y="2915975"/>
            <a:ext cx="254793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2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C56CB44F-A428-A24E-9FD6-03C902B8CB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78232" y="2915975"/>
            <a:ext cx="2554605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3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4ADD9F6F-04EC-3548-89ED-07083CA31F7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16988" y="2915975"/>
            <a:ext cx="2552700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4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59572E56-7E01-9B4B-A25B-1F1656B06D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52813" y="3524344"/>
            <a:ext cx="2547937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526BD833-CFF8-F541-92F8-E3D36BA6D4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83998" y="3532376"/>
            <a:ext cx="2547937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57862449-EC25-604D-A3A7-CE54B563354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16988" y="3524343"/>
            <a:ext cx="2552699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42960B-5CFE-4CCC-8A7C-819AB126A4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599" y="538164"/>
            <a:ext cx="10746087" cy="1370012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4 Items / Features </a:t>
            </a:r>
            <a:br>
              <a:rPr lang="en-US"/>
            </a:br>
            <a:r>
              <a:rPr lang="en-US"/>
              <a:t>Illustrated Bullet List</a:t>
            </a:r>
          </a:p>
        </p:txBody>
      </p:sp>
    </p:spTree>
    <p:extLst>
      <p:ext uri="{BB962C8B-B14F-4D97-AF65-F5344CB8AC3E}">
        <p14:creationId xmlns:p14="http://schemas.microsoft.com/office/powerpoint/2010/main" val="28318801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tems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E63340-CFC6-4DE4-A808-EF24C62FF7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5369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E63340-CFC6-4DE4-A808-EF24C62FF7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466CBF-EFEB-BF4E-8EF1-DA6DA515FF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53741" y="2624943"/>
            <a:ext cx="2627733" cy="1332541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D5DD337E-FCEB-8848-9F17-4A7948DB85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53741" y="2037104"/>
            <a:ext cx="2627733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Featur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02B59A1-B3EF-2645-B49B-4D774FF780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3741" y="4328800"/>
            <a:ext cx="2627733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Feature</a:t>
            </a:r>
          </a:p>
        </p:txBody>
      </p:sp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76935810-7504-4B45-83F9-2E99FFE8E0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6627" y="2037104"/>
            <a:ext cx="2634018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Fea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AB2FAA5E-B4A1-764E-B89C-0F89E86576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86627" y="4328800"/>
            <a:ext cx="2634018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Feature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580FC978-AF1C-5244-BA36-D990852E29C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40896" y="2037104"/>
            <a:ext cx="2628792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Feature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5DB8FC56-8E45-B642-BA86-CA674617E8D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40896" y="4328800"/>
            <a:ext cx="2628792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Feature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F4FDECCA-8BA0-1E46-959C-40D405A3DD8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86627" y="2624943"/>
            <a:ext cx="2627733" cy="1332541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1D615094-1A97-4D44-963D-B6646A38C7A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840896" y="2624943"/>
            <a:ext cx="2627733" cy="1332541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C0DC2E1-3303-ED4F-AF0A-C83B26F853C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3741" y="4923617"/>
            <a:ext cx="2627733" cy="1396220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3234F23D-C765-1C43-8BE8-B63E9013F02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86627" y="4923617"/>
            <a:ext cx="2627733" cy="1396220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38C0BF57-A485-B741-AAB8-63E6E654704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0896" y="4923617"/>
            <a:ext cx="2627733" cy="1396220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FF33FF-9B6D-41BF-97A6-EF8D86B8B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599" y="538163"/>
            <a:ext cx="10745029" cy="1370012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6 Items / Features Illustrated Bullet List</a:t>
            </a:r>
          </a:p>
        </p:txBody>
      </p:sp>
    </p:spTree>
    <p:extLst>
      <p:ext uri="{BB962C8B-B14F-4D97-AF65-F5344CB8AC3E}">
        <p14:creationId xmlns:p14="http://schemas.microsoft.com/office/powerpoint/2010/main" val="22288804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63911BD-CC85-5881-37CD-50823D6CCDE2}"/>
              </a:ext>
            </a:extLst>
          </p:cNvPr>
          <p:cNvSpPr/>
          <p:nvPr userDrawn="1"/>
        </p:nvSpPr>
        <p:spPr>
          <a:xfrm>
            <a:off x="-7144" y="-3486"/>
            <a:ext cx="12192000" cy="2226365"/>
          </a:xfrm>
          <a:prstGeom prst="rect">
            <a:avLst/>
          </a:prstGeom>
          <a:solidFill>
            <a:srgbClr val="4B4BF7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01C7A36-BD91-20DC-B509-02D0CFF1D1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6" t="-1" r="1" b="9"/>
          <a:stretch/>
        </p:blipFill>
        <p:spPr>
          <a:xfrm>
            <a:off x="-15308" y="1"/>
            <a:ext cx="12207307" cy="6857999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563D3286-D04A-559A-5913-4D8C58592F47}"/>
              </a:ext>
            </a:extLst>
          </p:cNvPr>
          <p:cNvSpPr txBox="1">
            <a:spLocks/>
          </p:cNvSpPr>
          <p:nvPr userDrawn="1"/>
        </p:nvSpPr>
        <p:spPr>
          <a:xfrm>
            <a:off x="722313" y="538163"/>
            <a:ext cx="10747374" cy="795337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-1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BC0E37-DE45-5782-F8E1-ED4CDE53B4CF}"/>
              </a:ext>
            </a:extLst>
          </p:cNvPr>
          <p:cNvSpPr txBox="1"/>
          <p:nvPr userDrawn="1"/>
        </p:nvSpPr>
        <p:spPr>
          <a:xfrm>
            <a:off x="3557305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5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965BAB98-D402-B9AF-0734-CAD6568059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9FE93C3-7205-2278-128A-0ADFC952B52A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63045F9B-4071-B046-2A01-7BC45A731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82091567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63911BD-CC85-5881-37CD-50823D6CCDE2}"/>
              </a:ext>
            </a:extLst>
          </p:cNvPr>
          <p:cNvSpPr/>
          <p:nvPr userDrawn="1"/>
        </p:nvSpPr>
        <p:spPr>
          <a:xfrm>
            <a:off x="-3970" y="-18206"/>
            <a:ext cx="12195969" cy="2241086"/>
          </a:xfrm>
          <a:prstGeom prst="rect">
            <a:avLst/>
          </a:prstGeom>
          <a:solidFill>
            <a:srgbClr val="2A22B5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63D3286-D04A-559A-5913-4D8C58592F47}"/>
              </a:ext>
            </a:extLst>
          </p:cNvPr>
          <p:cNvSpPr txBox="1">
            <a:spLocks/>
          </p:cNvSpPr>
          <p:nvPr userDrawn="1"/>
        </p:nvSpPr>
        <p:spPr>
          <a:xfrm>
            <a:off x="722313" y="538163"/>
            <a:ext cx="10747374" cy="795337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-1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EAB9537-9ED9-7ADF-BBA8-DDFFDB2D0D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7852"/>
          <a:stretch/>
        </p:blipFill>
        <p:spPr>
          <a:xfrm>
            <a:off x="-85459" y="-18205"/>
            <a:ext cx="12277458" cy="2241086"/>
          </a:xfrm>
          <a:prstGeom prst="rect">
            <a:avLst/>
          </a:prstGeom>
        </p:spPr>
      </p:pic>
      <p:sp>
        <p:nvSpPr>
          <p:cNvPr id="10" name="Title Placeholder 7">
            <a:extLst>
              <a:ext uri="{FF2B5EF4-FFF2-40B4-BE49-F238E27FC236}">
                <a16:creationId xmlns:a16="http://schemas.microsoft.com/office/drawing/2014/main" id="{31AE144F-D510-93AE-20DC-72A3015E5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18293564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50A185E-36CF-4174-E22E-C3E123971098}"/>
              </a:ext>
            </a:extLst>
          </p:cNvPr>
          <p:cNvSpPr/>
          <p:nvPr userDrawn="1"/>
        </p:nvSpPr>
        <p:spPr>
          <a:xfrm>
            <a:off x="0" y="0"/>
            <a:ext cx="12192000" cy="1727200"/>
          </a:xfrm>
          <a:prstGeom prst="rect">
            <a:avLst/>
          </a:prstGeom>
          <a:solidFill>
            <a:schemeClr val="accent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F6959AA-6841-DCE9-C3D1-0916E8E5E5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1727200"/>
          </a:xfrm>
          <a:prstGeom prst="rect">
            <a:avLst/>
          </a:prstGeom>
        </p:spPr>
      </p:pic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E90CBC2F-2FE6-E849-A23E-6624002BB1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5162992"/>
            <a:ext cx="2526055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Position</a:t>
            </a:r>
            <a:endParaRPr lang="en-BG"/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BEF25CF4-59B3-BE42-81BA-5E46207363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13" y="4651970"/>
            <a:ext cx="2526055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ct val="800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Name 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435FD64-44C1-0E48-B5ED-A66844CC2EA7}"/>
              </a:ext>
            </a:extLst>
          </p:cNvPr>
          <p:cNvSpPr txBox="1"/>
          <p:nvPr userDrawn="1"/>
        </p:nvSpPr>
        <p:spPr>
          <a:xfrm>
            <a:off x="1742303" y="4893276"/>
            <a:ext cx="0" cy="0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l"/>
            <a:endParaRPr lang="en-BG" sz="2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70B6830F-8A50-3147-B040-0115CA5BF87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53156" y="5162992"/>
            <a:ext cx="2547594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Position</a:t>
            </a:r>
            <a:endParaRPr lang="en-BG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FC91BA71-069A-8F4D-80E2-C8697BB423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53156" y="4651970"/>
            <a:ext cx="2547594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ct val="800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Name 2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05787F03-F6FF-FC4D-9ED1-40A7F50C89F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4000" y="5162992"/>
            <a:ext cx="2548838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Position</a:t>
            </a:r>
            <a:endParaRPr lang="en-BG"/>
          </a:p>
        </p:txBody>
      </p:sp>
      <p:sp>
        <p:nvSpPr>
          <p:cNvPr id="33" name="Text Placeholder 18">
            <a:extLst>
              <a:ext uri="{FF2B5EF4-FFF2-40B4-BE49-F238E27FC236}">
                <a16:creationId xmlns:a16="http://schemas.microsoft.com/office/drawing/2014/main" id="{5616BBF2-7973-DE49-9FF2-B67B2FF846B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84000" y="4651970"/>
            <a:ext cx="2548838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ct val="800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Name 3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6AD7FE0B-1E24-264D-AA5F-C85BAFD01D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916988" y="5162992"/>
            <a:ext cx="2552700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Position</a:t>
            </a:r>
            <a:endParaRPr lang="en-BG"/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FE495FE2-22D3-FB42-AF76-F86CF0F945E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16988" y="4651970"/>
            <a:ext cx="2552700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ct val="800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Name 4</a:t>
            </a:r>
          </a:p>
        </p:txBody>
      </p:sp>
      <p:sp>
        <p:nvSpPr>
          <p:cNvPr id="18" name="Picture Placeholder 1">
            <a:extLst>
              <a:ext uri="{FF2B5EF4-FFF2-40B4-BE49-F238E27FC236}">
                <a16:creationId xmlns:a16="http://schemas.microsoft.com/office/drawing/2014/main" id="{0331D3FB-3327-7240-B6AA-7B62FBBF4CF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53134" y="2355867"/>
            <a:ext cx="2062128" cy="2062128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  <p:sp>
        <p:nvSpPr>
          <p:cNvPr id="20" name="Picture Placeholder 1">
            <a:extLst>
              <a:ext uri="{FF2B5EF4-FFF2-40B4-BE49-F238E27FC236}">
                <a16:creationId xmlns:a16="http://schemas.microsoft.com/office/drawing/2014/main" id="{C95E4137-4213-BE4A-9909-08534641CCEE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694831" y="2355867"/>
            <a:ext cx="2062127" cy="2062127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  <p:sp>
        <p:nvSpPr>
          <p:cNvPr id="23" name="Picture Placeholder 1">
            <a:extLst>
              <a:ext uri="{FF2B5EF4-FFF2-40B4-BE49-F238E27FC236}">
                <a16:creationId xmlns:a16="http://schemas.microsoft.com/office/drawing/2014/main" id="{5FCAAEDD-145E-714F-8193-C07FFCB234C5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435044" y="2344391"/>
            <a:ext cx="2073604" cy="2073604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  <p:sp>
        <p:nvSpPr>
          <p:cNvPr id="24" name="Picture Placeholder 1">
            <a:extLst>
              <a:ext uri="{FF2B5EF4-FFF2-40B4-BE49-F238E27FC236}">
                <a16:creationId xmlns:a16="http://schemas.microsoft.com/office/drawing/2014/main" id="{21AE5383-EC13-FE4D-996B-BE10161B0155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9157330" y="2344391"/>
            <a:ext cx="2073603" cy="2073603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A7DD63-67DB-1DD6-5B09-ECD0AC44E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6782" y="574918"/>
            <a:ext cx="5278437" cy="684212"/>
          </a:xfrm>
          <a:prstGeom prst="rect">
            <a:avLst/>
          </a:prstGeom>
        </p:spPr>
        <p:txBody>
          <a:bodyPr tIns="108000" anchor="t">
            <a:noAutofit/>
          </a:bodyPr>
          <a:lstStyle>
            <a:lvl1pPr algn="ctr">
              <a:lnSpc>
                <a:spcPct val="85000"/>
              </a:lnSpc>
              <a:defRPr lang="en-US" sz="4000" b="1" i="0" kern="0" spc="-100" baseline="0" noProof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Team</a:t>
            </a:r>
          </a:p>
        </p:txBody>
      </p:sp>
    </p:spTree>
    <p:extLst>
      <p:ext uri="{BB962C8B-B14F-4D97-AF65-F5344CB8AC3E}">
        <p14:creationId xmlns:p14="http://schemas.microsoft.com/office/powerpoint/2010/main" val="41930359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1322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23722" y="826839"/>
            <a:ext cx="5545964" cy="893189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Name Surname</a:t>
            </a:r>
            <a:endParaRPr lang="en-BG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5627746-B38D-97E9-850E-555A4176B5DB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>
            <a:hlinkClick r:id="rId5"/>
            <a:extLst>
              <a:ext uri="{FF2B5EF4-FFF2-40B4-BE49-F238E27FC236}">
                <a16:creationId xmlns:a16="http://schemas.microsoft.com/office/drawing/2014/main" id="{4BB347AD-D128-4D84-46CF-37C37662B1C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C1D4EB1-7C2A-BD4C-8F7A-E96B43158F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23723" y="2495228"/>
            <a:ext cx="5545964" cy="37341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EC1BCC7-161D-49C5-0B42-91DD6237A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8904"/>
          <a:stretch/>
        </p:blipFill>
        <p:spPr>
          <a:xfrm>
            <a:off x="0" y="0"/>
            <a:ext cx="4507424" cy="6858000"/>
          </a:xfrm>
          <a:prstGeom prst="rect">
            <a:avLst/>
          </a:prstGeom>
        </p:spPr>
      </p:pic>
      <p:pic>
        <p:nvPicPr>
          <p:cNvPr id="11" name="Picture 3">
            <a:extLst>
              <a:ext uri="{FF2B5EF4-FFF2-40B4-BE49-F238E27FC236}">
                <a16:creationId xmlns:a16="http://schemas.microsoft.com/office/drawing/2014/main" id="{B6F6E7F4-1555-9F77-6ABA-60A04808A25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CC987FAB-944C-48DF-1F53-E51F20E604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23722" y="1828887"/>
            <a:ext cx="5545964" cy="432373"/>
          </a:xfrm>
          <a:prstGeom prst="rect">
            <a:avLst/>
          </a:prstGeom>
        </p:spPr>
        <p:txBody>
          <a:bodyPr tIns="36000"/>
          <a:lstStyle>
            <a:lvl1pPr marL="0" indent="0" algn="l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Position</a:t>
            </a:r>
            <a:endParaRPr lang="en-BG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19388A0-7D2A-5783-BF69-976196705A41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24828" y="727924"/>
            <a:ext cx="4930831" cy="4934507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1725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880A557-7E11-DF49-8186-7D04ACC752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3600" y="1447799"/>
            <a:ext cx="3459162" cy="228917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B7890FB8-2450-AF47-8169-9C8D93F61AF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66419" y="1447799"/>
            <a:ext cx="3459162" cy="228917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07D44DAC-CC6B-0F46-B9C2-4D41210383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12144" y="1447799"/>
            <a:ext cx="3459162" cy="228917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1EB8CBC-CB7B-C44C-95E3-E1FED843D5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3600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7C37F377-AED4-8643-ABAC-55E992161DA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66419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E4E77DCE-0609-D747-AD06-96FFA6F1B7F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12144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EC4521C-3907-8345-BCE7-B2B57F767D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3" y="538163"/>
            <a:ext cx="10748993" cy="677861"/>
          </a:xfrm>
        </p:spPr>
        <p:txBody>
          <a:bodyPr tIns="108000"/>
          <a:lstStyle/>
          <a:p>
            <a:r>
              <a:rPr lang="en-GB"/>
              <a:t>Gallery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6464458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/Cover Slide + Speaker's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2C0E199A-083C-BF56-7A8F-2098E213CC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5163" t="40397" r="25896" b="35482"/>
          <a:stretch/>
        </p:blipFill>
        <p:spPr>
          <a:xfrm>
            <a:off x="6506" y="6504"/>
            <a:ext cx="12192000" cy="685800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258B856-E5F5-5A38-880C-D49532435CDC}"/>
              </a:ext>
            </a:extLst>
          </p:cNvPr>
          <p:cNvSpPr txBox="1"/>
          <p:nvPr userDrawn="1"/>
        </p:nvSpPr>
        <p:spPr>
          <a:xfrm>
            <a:off x="-4231758" y="1998921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8A2A80B9-30CF-CF41-252F-45337AF3A72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26315" y="745314"/>
            <a:ext cx="1341526" cy="3111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CAC4239-3EE8-2389-8A07-37BB16E3F5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1" b="639"/>
          <a:stretch/>
        </p:blipFill>
        <p:spPr>
          <a:xfrm>
            <a:off x="4263242" y="0"/>
            <a:ext cx="7961652" cy="6864506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11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9" imgH="349" progId="TCLayout.ActiveDocument.1">
                  <p:embed/>
                </p:oleObj>
              </mc:Choice>
              <mc:Fallback>
                <p:oleObj name="think-cell Slide" r:id="rId8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AFE9A584-67A4-F159-B817-D0B9351FB0B6}"/>
              </a:ext>
            </a:extLst>
          </p:cNvPr>
          <p:cNvSpPr txBox="1"/>
          <p:nvPr userDrawn="1"/>
        </p:nvSpPr>
        <p:spPr>
          <a:xfrm>
            <a:off x="-4231758" y="1998921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77BE795C-072A-459C-8648-8D68BC93FAA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26315" y="745314"/>
            <a:ext cx="1341526" cy="311178"/>
          </a:xfrm>
          <a:prstGeom prst="rect">
            <a:avLst/>
          </a:prstGeom>
        </p:spPr>
      </p:pic>
      <p:sp>
        <p:nvSpPr>
          <p:cNvPr id="5" name="Picture Placeholder 1">
            <a:extLst>
              <a:ext uri="{FF2B5EF4-FFF2-40B4-BE49-F238E27FC236}">
                <a16:creationId xmlns:a16="http://schemas.microsoft.com/office/drawing/2014/main" id="{D26A23C4-8FFF-C281-313F-7DAB0943BFC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38972" y="4116610"/>
            <a:ext cx="1341526" cy="1302685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2C0A766-5D97-8699-F8E5-997B3902E0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19430" y="4182155"/>
            <a:ext cx="3813855" cy="38855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B34A0B8-9290-70C5-172C-8FE7982E44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19430" y="4647602"/>
            <a:ext cx="3813855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2B1E544-A739-FF0A-A5FA-D5CFA61D26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19430" y="5107164"/>
            <a:ext cx="3813855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AF56EA05-C37B-3A3B-43EF-F571B8366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1677988"/>
            <a:ext cx="5261778" cy="2290762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 up to three lines of text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3947304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1">
            <a:extLst>
              <a:ext uri="{FF2B5EF4-FFF2-40B4-BE49-F238E27FC236}">
                <a16:creationId xmlns:a16="http://schemas.microsoft.com/office/drawing/2014/main" id="{5FB11B1B-3F3D-604C-9EB4-5E5126F9567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8825" cy="686020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Ins="503999" anchor="ctr" anchorCtr="0"/>
          <a:lstStyle>
            <a:lvl1pPr marL="0" indent="0" algn="r">
              <a:lnSpc>
                <a:spcPts val="3860"/>
              </a:lnSpc>
              <a:buFontTx/>
              <a:buNone/>
              <a:defRPr sz="4800">
                <a:solidFill>
                  <a:srgbClr val="F162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BG"/>
              <a:t>                Picture </a:t>
            </a:r>
            <a:br>
              <a:rPr lang="en-BG"/>
            </a:br>
            <a:r>
              <a:rPr lang="en-BG"/>
              <a:t>Placeholder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DC19264-1961-4652-B02A-E3432B012D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664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DC19264-1961-4652-B02A-E3432B012D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292E8C3-F64F-4C68-BE86-5BC9BDB4D75C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971961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ShareF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DF83BADA-4649-56A1-D0D0-7478DBF0550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57446" b="76645"/>
          <a:stretch>
            <a:fillRect/>
          </a:stretch>
        </p:blipFill>
        <p:spPr>
          <a:xfrm>
            <a:off x="1397145" y="45749"/>
            <a:ext cx="10794855" cy="6812252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5EA369A-883F-BB41-517A-47F9E604F28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390219" y="960613"/>
            <a:ext cx="2385368" cy="318521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BFA71B5-BC97-BAFC-6BC6-A848622533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358413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3A16FE5F-6D0C-68FA-14F6-F9FB107707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2071045"/>
            <a:ext cx="5261778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</a:t>
            </a:r>
            <a:r>
              <a:rPr lang="en-GB" err="1"/>
              <a:t>OpenEdge</a:t>
            </a:r>
            <a:r>
              <a:rPr lang="en-GB"/>
              <a:t> title slide</a:t>
            </a:r>
            <a:endParaRPr lang="en-BG"/>
          </a:p>
        </p:txBody>
      </p:sp>
      <p:pic>
        <p:nvPicPr>
          <p:cNvPr id="15" name="Picture 1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560BB80F-9A76-457B-62FD-96CBA705E2F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769" y="1447800"/>
            <a:ext cx="5087258" cy="36576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2CDA656-63C3-79AC-EF4E-3798C3724778}"/>
              </a:ext>
            </a:extLst>
          </p:cNvPr>
          <p:cNvSpPr txBox="1"/>
          <p:nvPr userDrawn="1"/>
        </p:nvSpPr>
        <p:spPr>
          <a:xfrm>
            <a:off x="7839856" y="-1349115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5909375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roduct Slide - Podi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5EA369A-883F-BB41-517A-47F9E604F28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93553" y="957013"/>
            <a:ext cx="2038534" cy="318521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BFA71B5-BC97-BAFC-6BC6-A848622533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358413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3A16FE5F-6D0C-68FA-14F6-F9FB107707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2071045"/>
            <a:ext cx="5261778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</a:t>
            </a:r>
            <a:r>
              <a:rPr lang="en-GB" err="1"/>
              <a:t>OpenEdge</a:t>
            </a:r>
            <a:r>
              <a:rPr lang="en-GB"/>
              <a:t> title slide</a:t>
            </a:r>
            <a:endParaRPr lang="en-BG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2CDA656-63C3-79AC-EF4E-3798C3724778}"/>
              </a:ext>
            </a:extLst>
          </p:cNvPr>
          <p:cNvSpPr txBox="1"/>
          <p:nvPr userDrawn="1"/>
        </p:nvSpPr>
        <p:spPr>
          <a:xfrm>
            <a:off x="7839856" y="-1349115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US" sz="240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8B53EA6-8E29-DD44-ADCE-E55C43FFC6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55325" b="76214"/>
          <a:stretch>
            <a:fillRect/>
          </a:stretch>
        </p:blipFill>
        <p:spPr>
          <a:xfrm>
            <a:off x="2174659" y="721937"/>
            <a:ext cx="10017341" cy="6136063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47137512-79E7-8AC9-C8DE-875CAD10CFC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23850" y="1908175"/>
            <a:ext cx="4945047" cy="3075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32791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roduct Slide - Agentic RA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6D51E03F-5FFD-5A84-E640-476C2D95B8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56103" b="76181"/>
          <a:stretch>
            <a:fillRect/>
          </a:stretch>
        </p:blipFill>
        <p:spPr>
          <a:xfrm>
            <a:off x="1684495" y="277812"/>
            <a:ext cx="10507506" cy="6534439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5EA369A-883F-BB41-517A-47F9E604F28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395795" y="957616"/>
            <a:ext cx="2741202" cy="320400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BFA71B5-BC97-BAFC-6BC6-A848622533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358413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3A16FE5F-6D0C-68FA-14F6-F9FB107707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2071045"/>
            <a:ext cx="5261778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</a:t>
            </a:r>
            <a:r>
              <a:rPr lang="en-GB" err="1"/>
              <a:t>OpenEdge</a:t>
            </a:r>
            <a:r>
              <a:rPr lang="en-GB"/>
              <a:t> title slide</a:t>
            </a:r>
            <a:endParaRPr lang="en-BG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2CDA656-63C3-79AC-EF4E-3798C3724778}"/>
              </a:ext>
            </a:extLst>
          </p:cNvPr>
          <p:cNvSpPr txBox="1"/>
          <p:nvPr userDrawn="1"/>
        </p:nvSpPr>
        <p:spPr>
          <a:xfrm>
            <a:off x="7839856" y="-1349115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US" sz="240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1C49219-48AA-76C0-639A-6B3F79B8A7F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096000" y="881682"/>
            <a:ext cx="5855198" cy="5380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9422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roduct Slide - OpenEd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A84353A-9AD5-50B2-6EB7-E5BB04A754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1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51" t="22539" r="36581" b="45964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6D45A37E-93C0-DCC8-B8B7-488BAA4921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3252" b="76294"/>
          <a:stretch/>
        </p:blipFill>
        <p:spPr>
          <a:xfrm>
            <a:off x="1157303" y="444736"/>
            <a:ext cx="11034697" cy="641326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F68D42E-85E8-ED5A-5C24-A72B6A9BB8C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3800" y="1320395"/>
            <a:ext cx="5213341" cy="4263723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9" imgH="349" progId="TCLayout.ActiveDocument.1">
                  <p:embed/>
                </p:oleObj>
              </mc:Choice>
              <mc:Fallback>
                <p:oleObj name="think-cell Slide" r:id="rId7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5EA369A-883F-BB41-517A-47F9E604F28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95087" y="960613"/>
            <a:ext cx="2555246" cy="318521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BFA71B5-BC97-BAFC-6BC6-A848622533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358413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3A16FE5F-6D0C-68FA-14F6-F9FB107707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2071045"/>
            <a:ext cx="5261778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</a:t>
            </a:r>
            <a:r>
              <a:rPr lang="en-GB" err="1"/>
              <a:t>OpenEdge</a:t>
            </a:r>
            <a:r>
              <a:rPr lang="en-GB"/>
              <a:t> title slid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49916019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DataDire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621FED8-483E-529D-E08D-D803CC6A24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11000"/>
            <a:lum contrast="1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51" t="22539" r="36581" b="45964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2BDC811-A354-F27C-5F36-4434AEAF3A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1872" b="75806"/>
          <a:stretch/>
        </p:blipFill>
        <p:spPr>
          <a:xfrm>
            <a:off x="1307007" y="586683"/>
            <a:ext cx="10884994" cy="6271317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32CB980-29DB-AEDD-2299-290352613E0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5087" y="960612"/>
            <a:ext cx="2555246" cy="318521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7B07A7B-B2AB-3AB5-CDA3-14B7B12C3AD7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06831" y="1844842"/>
            <a:ext cx="5569198" cy="4659562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F6DD4A5-EDC8-3367-3CC8-4E2799F6B9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358413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2B06267D-BC63-1BE7-7848-50586CF4B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2071045"/>
            <a:ext cx="5261778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</a:t>
            </a:r>
            <a:r>
              <a:rPr lang="en-GB" err="1"/>
              <a:t>DataDirect</a:t>
            </a:r>
            <a:r>
              <a:rPr lang="en-GB"/>
              <a:t> title slid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7655623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MarkLog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E134877-15F5-17CF-59F4-1DFB0A2EE1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11000"/>
            <a:lum contrast="1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51" t="22539" r="36581" b="45964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FDD64B20-F4AA-2D17-2C61-23CB49BC1D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060" y="2769891"/>
            <a:ext cx="2614568" cy="2614568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61781FE9-D446-38C8-4175-6161B7AA3C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51002" b="75486"/>
          <a:stretch/>
        </p:blipFill>
        <p:spPr>
          <a:xfrm>
            <a:off x="1521306" y="696694"/>
            <a:ext cx="10670694" cy="6161306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9" imgH="349" progId="TCLayout.ActiveDocument.1">
                  <p:embed/>
                </p:oleObj>
              </mc:Choice>
              <mc:Fallback>
                <p:oleObj name="think-cell Slide" r:id="rId7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BE27880-C361-D80F-6311-720A27AE016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1830" y="538386"/>
            <a:ext cx="5312353" cy="418295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65135D4-AF36-8303-5E72-02ABEB611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358413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5DE41928-5920-BEED-9CFE-C35FDAF7B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2071045"/>
            <a:ext cx="5261778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</a:t>
            </a:r>
            <a:r>
              <a:rPr lang="en-GB" err="1"/>
              <a:t>MarkLogic</a:t>
            </a:r>
            <a:r>
              <a:rPr lang="en-GB"/>
              <a:t> title slide</a:t>
            </a:r>
            <a:endParaRPr lang="en-BG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EDB6CF1-40D7-7486-CEF2-2950C504939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95607" y="958662"/>
            <a:ext cx="255608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853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Semapho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9744B44-CCF6-BB1D-8BF3-DD5EE06F02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336" t="8659" r="18284" b="41332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C2DF614-21E4-E799-E9E2-19B131DC46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95" b="75314"/>
          <a:stretch/>
        </p:blipFill>
        <p:spPr>
          <a:xfrm>
            <a:off x="1652145" y="489709"/>
            <a:ext cx="10539855" cy="6368292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BF5B783-7CB9-219F-F549-930057E9AFE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1092" y="959977"/>
            <a:ext cx="2662880" cy="3204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529D050-7137-A05B-6208-B907C8C213A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8412" y="2194616"/>
            <a:ext cx="5892800" cy="3530600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395E45A-F5DA-FC73-62DA-5F0770BCE1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358413"/>
            <a:ext cx="5436274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B54AFBD0-6715-FE1F-5C04-FDCCB5FB03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2" y="2071045"/>
            <a:ext cx="5436275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Semaphore title slid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67949891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roduct Slide - Sitefini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305AC651-B6C0-8661-072A-BA223F4508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11000"/>
            <a:lum contrast="1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51" t="22539" r="36581" b="45964"/>
          <a:stretch/>
        </p:blipFill>
        <p:spPr>
          <a:xfrm>
            <a:off x="0" y="-70588"/>
            <a:ext cx="12192000" cy="6858001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E0830D3F-9D29-7A0B-5C88-72DF08D6B4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969" r="52968" b="79470"/>
          <a:stretch/>
        </p:blipFill>
        <p:spPr>
          <a:xfrm>
            <a:off x="738972" y="425779"/>
            <a:ext cx="11453028" cy="6432222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F408DC0-C2F5-0744-1AF8-0774C868C53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058" y="957785"/>
            <a:ext cx="2359319" cy="322458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BB582AD-AB91-4584-8DA9-A1F806BEC4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358413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A8B5B4F3-B7F0-D0E4-148A-7531BC17C0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2071045"/>
            <a:ext cx="5261778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Sitefinity title slide</a:t>
            </a:r>
            <a:endParaRPr lang="en-BG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6806AC4-3DB2-139C-33C7-5F9BB6C69AE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1675" y="2724540"/>
            <a:ext cx="4427426" cy="295514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A3EF343-1AEB-563A-FFB0-8E5F9DC7E41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1455" y="1178312"/>
            <a:ext cx="2322034" cy="1277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6937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MOVE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41F82CE-59A1-9957-C686-1E51522A5B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336" t="8659" r="18284" b="41332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96E95E81-B99A-030B-6F61-E2022FD3CD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208" b="76068"/>
          <a:stretch/>
        </p:blipFill>
        <p:spPr>
          <a:xfrm>
            <a:off x="1178347" y="536962"/>
            <a:ext cx="11013653" cy="6321038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2BF6701-1C76-E8CC-7F4E-02F929E5F2A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7269" y="964249"/>
            <a:ext cx="2264157" cy="3204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E64B612-1D56-A029-2A6E-0B8211CC4C75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4323" y="2027627"/>
            <a:ext cx="4384607" cy="3713921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049E336-1238-19FF-6E5A-C4BD66319F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358413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CB731819-F37B-63B4-96E3-DF1A6998BB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2071045"/>
            <a:ext cx="5261778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</a:t>
            </a:r>
            <a:r>
              <a:rPr lang="en-GB" err="1"/>
              <a:t>MOVEit</a:t>
            </a:r>
            <a:r>
              <a:rPr lang="en-GB"/>
              <a:t> title slid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174163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/Cover Slide Blue +Speaker's Photo">
    <p:bg>
      <p:bgPr>
        <a:solidFill>
          <a:srgbClr val="2921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67F6EA1-6DE4-7625-D919-6692351DBD2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6" r="116"/>
          <a:stretch/>
        </p:blipFill>
        <p:spPr>
          <a:xfrm>
            <a:off x="-4" y="-2"/>
            <a:ext cx="12192003" cy="6857999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11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AFE9A584-67A4-F159-B817-D0B9351FB0B6}"/>
              </a:ext>
            </a:extLst>
          </p:cNvPr>
          <p:cNvSpPr txBox="1"/>
          <p:nvPr userDrawn="1"/>
        </p:nvSpPr>
        <p:spPr>
          <a:xfrm>
            <a:off x="-4231758" y="1998921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>
              <a:solidFill>
                <a:schemeClr val="bg1"/>
              </a:solidFill>
            </a:endParaRPr>
          </a:p>
        </p:txBody>
      </p:sp>
      <p:sp>
        <p:nvSpPr>
          <p:cNvPr id="5" name="Picture Placeholder 1">
            <a:extLst>
              <a:ext uri="{FF2B5EF4-FFF2-40B4-BE49-F238E27FC236}">
                <a16:creationId xmlns:a16="http://schemas.microsoft.com/office/drawing/2014/main" id="{D26A23C4-8FFF-C281-313F-7DAB0943BFC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38972" y="4116610"/>
            <a:ext cx="1341526" cy="1302685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2C0A766-5D97-8699-F8E5-997B3902E0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19430" y="4182155"/>
            <a:ext cx="3813855" cy="38855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B34A0B8-9290-70C5-172C-8FE7982E44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19430" y="4647602"/>
            <a:ext cx="3813855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2B1E544-A739-FF0A-A5FA-D5CFA61D26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19430" y="5107164"/>
            <a:ext cx="3813855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AF56EA05-C37B-3A3B-43EF-F571B8366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1677989"/>
            <a:ext cx="5261778" cy="2290762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 up to three lines of text</a:t>
            </a:r>
            <a:endParaRPr lang="en-BG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04723042-2F90-D0B4-E1EF-ECC12ED2CB9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25041" y="769600"/>
            <a:ext cx="1342800" cy="31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727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Cort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D4D40DB-134B-496C-CBDC-307CABF930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336" t="8659" r="18284" b="41332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A78CBCE9-498D-4CB0-C0C1-442895B24D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6394" b="76564"/>
          <a:stretch/>
        </p:blipFill>
        <p:spPr>
          <a:xfrm>
            <a:off x="1058428" y="0"/>
            <a:ext cx="11133572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A3AD626-58FB-378B-86F3-1F4E529666A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5868" y="958492"/>
            <a:ext cx="2176049" cy="3204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43BDF99-BFF3-E37C-CDF7-2499029C860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1201" y="1913884"/>
            <a:ext cx="5661827" cy="3751433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A90954D-CFEE-DCD3-F4EF-E41EFDC766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358413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F525A9E5-1F32-B05E-B6CA-B76A2AC2C5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2071045"/>
            <a:ext cx="5261778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</a:t>
            </a:r>
            <a:r>
              <a:rPr lang="en-GB" err="1"/>
              <a:t>Corticon</a:t>
            </a:r>
            <a:r>
              <a:rPr lang="en-GB"/>
              <a:t> title slid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415232638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roduct Slide - DevTool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A0E62130-121F-13BE-1142-86866BD609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104196-F0E4-787A-37CE-5EC9A0A72B8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208" y="958931"/>
            <a:ext cx="2386980" cy="32040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E48B56-5758-DA24-95B8-5D3145069C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358413"/>
            <a:ext cx="5439576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A106AC6E-FE9F-9C79-E8F3-06C89E1BFF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2" y="2071045"/>
            <a:ext cx="5439577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Telerik UI title slide</a:t>
            </a:r>
            <a:endParaRPr lang="en-BG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5A6A1DE-0F6B-C778-521F-868E5CA21C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298916" y="2255593"/>
            <a:ext cx="4956388" cy="4956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19978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DevTools">
    <p:bg>
      <p:bgPr>
        <a:solidFill>
          <a:srgbClr val="3143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phic 29">
            <a:extLst>
              <a:ext uri="{FF2B5EF4-FFF2-40B4-BE49-F238E27FC236}">
                <a16:creationId xmlns:a16="http://schemas.microsoft.com/office/drawing/2014/main" id="{3DD464B3-3700-7F51-E5F8-EF89211EE6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D079358C-09E2-585C-2D75-B3F6211172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11693" y="2914188"/>
            <a:ext cx="3041335" cy="3505983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74F16FC8-339E-F2C6-64F8-D398F1D3610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98552" y="958100"/>
            <a:ext cx="2392320" cy="32040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EE8D7E-C83C-35F6-7020-B18FF26FFC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358413"/>
            <a:ext cx="5439576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ECB42428-E7A7-B177-0BD6-848E35A6DA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2" y="2071045"/>
            <a:ext cx="5439577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Kendo UI title slid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5729934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Che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F6F81F4-50B8-98E4-7A52-DB529CF0C3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11000"/>
            <a:lum contrast="1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51" t="22539" r="36581" b="45964"/>
          <a:stretch/>
        </p:blipFill>
        <p:spPr>
          <a:xfrm>
            <a:off x="-6927" y="0"/>
            <a:ext cx="12192000" cy="6858001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B953E8D0-9AC7-EF13-001C-89A7F54FBD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136" b="75767"/>
          <a:stretch/>
        </p:blipFill>
        <p:spPr>
          <a:xfrm>
            <a:off x="1607896" y="716300"/>
            <a:ext cx="10584104" cy="61417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E3C21F8-4922-46B7-9A9E-A014A1C1EB7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5194" y="960656"/>
            <a:ext cx="1943762" cy="320400"/>
          </a:xfrm>
          <a:prstGeom prst="rect">
            <a:avLst/>
          </a:prstGeom>
        </p:spPr>
      </p:pic>
      <p:pic>
        <p:nvPicPr>
          <p:cNvPr id="15" name="Picture 14" descr="A colorful gears with lines and dots&#10;&#10;Description automatically generated with medium confidence">
            <a:extLst>
              <a:ext uri="{FF2B5EF4-FFF2-40B4-BE49-F238E27FC236}">
                <a16:creationId xmlns:a16="http://schemas.microsoft.com/office/drawing/2014/main" id="{7DAB0572-B9ED-E3AD-F60E-F0F13785C4B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3048" y="1398494"/>
            <a:ext cx="4623142" cy="3651283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A373191-A42F-39CB-AB1B-1D2AE1854D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358413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4D70A19-7E72-B23A-0D1E-4EA2823C0B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2071045"/>
            <a:ext cx="5261778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Chef title slid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16518290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LoadMas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30C8D9F-B666-C27A-6F7C-FC0683AD1F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11000"/>
            <a:lum contrast="1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51" t="22539" r="36581" b="45964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A78CBCE9-498D-4CB0-C0C1-442895B24D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6394" b="76564"/>
          <a:stretch/>
        </p:blipFill>
        <p:spPr>
          <a:xfrm>
            <a:off x="1058428" y="0"/>
            <a:ext cx="11133572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D658FDB-2BF6-5493-B0A9-8FC332B8789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8160" y="956760"/>
            <a:ext cx="3461945" cy="321875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37F52133-D8B9-80D5-0714-272792A1CAB0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725866" y="1264567"/>
            <a:ext cx="4075239" cy="505733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3737722-DA71-E5B9-FC83-BCAB9843D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358413"/>
            <a:ext cx="5439576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845BE316-78DE-75B6-394E-B0B8D8D31B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2" y="2071045"/>
            <a:ext cx="5439577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</a:t>
            </a:r>
            <a:r>
              <a:rPr lang="en-GB" err="1"/>
              <a:t>LoadMaster</a:t>
            </a:r>
            <a:r>
              <a:rPr lang="en-GB"/>
              <a:t> title slid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41193774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Flowm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26C788F-F800-573E-EE00-DC5FA046DF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336" t="8659" r="18284" b="41332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C2DF614-21E4-E799-E9E2-19B131DC46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95" b="75314"/>
          <a:stretch/>
        </p:blipFill>
        <p:spPr>
          <a:xfrm>
            <a:off x="1652145" y="489709"/>
            <a:ext cx="10539855" cy="6368292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140016C-9431-5015-0CB1-44E7605CA85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1519" y="958524"/>
            <a:ext cx="2399439" cy="3204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66CDA619-DE16-B406-C2EA-511DDF41CC9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90889" y="2194616"/>
            <a:ext cx="4874589" cy="335559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D2FA3A1-3726-E168-446A-891C2CD65F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358413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EA05B20C-1535-804D-A4D5-6B206F522D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2071045"/>
            <a:ext cx="5261778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</a:t>
            </a:r>
            <a:r>
              <a:rPr lang="en-GB" err="1"/>
              <a:t>Flowmon</a:t>
            </a:r>
            <a:r>
              <a:rPr lang="en-GB"/>
              <a:t> title slid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44289599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WhatsUp Go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8821DFF-6A5A-61F7-937D-D2B7D21EA7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336" t="8659" r="18284" b="41332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2FA95362-08B9-A5A6-D0CA-9E054A56BA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0752" b="74948"/>
          <a:stretch/>
        </p:blipFill>
        <p:spPr>
          <a:xfrm>
            <a:off x="1774015" y="759879"/>
            <a:ext cx="10417986" cy="6098121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84500C3-5D01-CCFB-C6CF-1C2646346F5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7697" y="956532"/>
            <a:ext cx="2904960" cy="3204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2372DCE-8110-6F40-EBB4-FA94D9D3511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6362" y="1594770"/>
            <a:ext cx="4464237" cy="3866662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6E203A5-6235-3DCD-E2B6-DA5F00271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358413"/>
            <a:ext cx="5605555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99130514-AFC9-AA59-D051-3DD512BF88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2071045"/>
            <a:ext cx="5605556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</a:t>
            </a:r>
            <a:r>
              <a:rPr lang="en-GB" err="1"/>
              <a:t>WhatsUp</a:t>
            </a:r>
            <a:r>
              <a:rPr lang="en-GB"/>
              <a:t> Gold title slid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7698777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A64ED-6E44-CE40-884C-C1F3360861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0519" y="2877420"/>
            <a:ext cx="4730962" cy="1103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4708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rogress Outro no text.mp4" descr="Progress Outro no text.mp4">
            <a:hlinkClick r:id="" action="ppaction://media"/>
            <a:extLst>
              <a:ext uri="{FF2B5EF4-FFF2-40B4-BE49-F238E27FC236}">
                <a16:creationId xmlns:a16="http://schemas.microsoft.com/office/drawing/2014/main" id="{5A546D01-834F-CB40-93EC-185C473ACE2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ABA8C2F-EEB5-964C-B283-39542BF4C40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0519" y="2877420"/>
            <a:ext cx="4730962" cy="1103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115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601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9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/Cover Slide with Hel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11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1AA0DB6-5A8E-3741-A2E5-D936D902DD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974" y="4203805"/>
            <a:ext cx="3361540" cy="747293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ED3701CF-5DFA-EE46-92C6-82EBEFFD8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8973" y="4951099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77BE795C-072A-459C-8648-8D68BC93FAA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26315" y="745314"/>
            <a:ext cx="1341526" cy="311178"/>
          </a:xfrm>
          <a:prstGeom prst="rect">
            <a:avLst/>
          </a:prstGeom>
        </p:spPr>
      </p:pic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4386448-892A-916A-0C47-8B8882ABC1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3721" y="6077641"/>
            <a:ext cx="2697910" cy="313798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15E27F-2DFC-A10F-B84C-AA509A7E6567}"/>
              </a:ext>
            </a:extLst>
          </p:cNvPr>
          <p:cNvSpPr txBox="1"/>
          <p:nvPr userDrawn="1"/>
        </p:nvSpPr>
        <p:spPr>
          <a:xfrm>
            <a:off x="10317892" y="5535827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6659C89-8D3D-2226-97A2-B82314DE9E3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577904"/>
            <a:ext cx="12187787" cy="6280095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9A3A92FA-DD57-6225-22A8-405B68564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72" y="1839820"/>
            <a:ext cx="5294311" cy="1199693"/>
          </a:xfrm>
          <a:prstGeom prst="rect">
            <a:avLst/>
          </a:prstGeom>
        </p:spPr>
        <p:txBody>
          <a:bodyPr lIns="0" tIns="108000" rIns="0" bIns="0" anchor="b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9E37DED-261F-B781-28F1-521AF74E2D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3" y="3062288"/>
            <a:ext cx="5294312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 err="1"/>
              <a:t>Subheadlin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311523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 No speaker info">
    <p:bg>
      <p:bgPr>
        <a:solidFill>
          <a:srgbClr val="2921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3820F667-9E80-508A-E083-BC5B5FCFF2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36897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3">
            <a:extLst>
              <a:ext uri="{FF2B5EF4-FFF2-40B4-BE49-F238E27FC236}">
                <a16:creationId xmlns:a16="http://schemas.microsoft.com/office/drawing/2014/main" id="{A41AE411-511D-8146-8417-A7B559E66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80346" y="3736975"/>
            <a:ext cx="5261778" cy="1383817"/>
          </a:xfrm>
          <a:prstGeom prst="rect">
            <a:avLst/>
          </a:prstGeom>
        </p:spPr>
        <p:txBody>
          <a:bodyPr vert="horz" lIns="0" tIns="108000" rIns="0" bIns="0" anchor="b" anchorCtr="0">
            <a:noAutofit/>
          </a:bodyPr>
          <a:lstStyle>
            <a:lvl1pPr>
              <a:lnSpc>
                <a:spcPct val="80000"/>
              </a:lnSpc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Headline Up to</a:t>
            </a:r>
            <a:br>
              <a:rPr lang="en-GB"/>
            </a:br>
            <a:r>
              <a:rPr lang="en-GB"/>
              <a:t>Three </a:t>
            </a:r>
            <a:br>
              <a:rPr lang="en-GB"/>
            </a:br>
            <a:r>
              <a:rPr lang="en-GB"/>
              <a:t>Lines</a:t>
            </a:r>
            <a:endParaRPr lang="en-BG"/>
          </a:p>
        </p:txBody>
      </p:sp>
      <p:pic>
        <p:nvPicPr>
          <p:cNvPr id="12" name="Picture 3">
            <a:extLst>
              <a:ext uri="{FF2B5EF4-FFF2-40B4-BE49-F238E27FC236}">
                <a16:creationId xmlns:a16="http://schemas.microsoft.com/office/drawing/2014/main" id="{5FFB1DD7-A134-4800-A20B-F8CB2D63D44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76020" y="3272915"/>
            <a:ext cx="1342800" cy="311474"/>
          </a:xfrm>
          <a:prstGeom prst="rect">
            <a:avLst/>
          </a:prstGeom>
        </p:spPr>
      </p:pic>
      <p:sp>
        <p:nvSpPr>
          <p:cNvPr id="8" name="Rectangle 6">
            <a:extLst>
              <a:ext uri="{FF2B5EF4-FFF2-40B4-BE49-F238E27FC236}">
                <a16:creationId xmlns:a16="http://schemas.microsoft.com/office/drawing/2014/main" id="{EC20BF15-B521-4443-B82F-AD15675E6FEF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372017" y="5120792"/>
            <a:ext cx="5278437" cy="594073"/>
          </a:xfrm>
          <a:prstGeom prst="rect">
            <a:avLst/>
          </a:prstGeom>
          <a:ln algn="ctr"/>
        </p:spPr>
        <p:txBody>
          <a:bodyPr lIns="0" tIns="0" rIns="0" bIns="0" anchor="t" anchorCtr="0"/>
          <a:lstStyle>
            <a:lvl1pPr marL="0" indent="0">
              <a:buClrTx/>
              <a:buFontTx/>
              <a:buNone/>
              <a:defRPr sz="2400" i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Subtitle Goes He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170491-DF1C-BF09-E773-7F3EDD6716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628" t="21844" r="49798" b="53049"/>
          <a:stretch/>
        </p:blipFill>
        <p:spPr>
          <a:xfrm>
            <a:off x="5104016" y="2835171"/>
            <a:ext cx="7079672" cy="4022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6406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1">
    <p:bg>
      <p:bgPr>
        <a:solidFill>
          <a:srgbClr val="2921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E545AB9-45E7-63BB-2CA1-D0E72871F6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43" r="1543"/>
          <a:stretch/>
        </p:blipFill>
        <p:spPr>
          <a:xfrm>
            <a:off x="0" y="0"/>
            <a:ext cx="12192003" cy="685800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33DD2E0-168B-3C9E-6B5B-E07AB1DB82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09" r="46333" b="48607"/>
          <a:stretch/>
        </p:blipFill>
        <p:spPr>
          <a:xfrm>
            <a:off x="2762776" y="0"/>
            <a:ext cx="9582874" cy="6858002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CB40B33-A7C9-794A-8DD4-F029935874E2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6C245B-9648-EA4E-836E-6BBB5FA39829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5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BCB04082-9BDB-31FF-09E3-BCCE765EF811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2609126" y="2592388"/>
            <a:ext cx="6973747" cy="1606550"/>
          </a:xfrm>
          <a:prstGeom prst="rect">
            <a:avLst/>
          </a:prstGeom>
          <a:ln algn="ctr"/>
        </p:spPr>
        <p:txBody>
          <a:bodyPr vert="horz" lIns="0" tIns="0" rIns="0" bIns="0" anchor="ctr" anchorCtr="0">
            <a:noAutofit/>
          </a:bodyPr>
          <a:lstStyle>
            <a:lvl1pPr algn="ctr">
              <a:lnSpc>
                <a:spcPct val="85000"/>
              </a:lnSpc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entered Title Style</a:t>
            </a:r>
            <a:br>
              <a:rPr lang="en-US"/>
            </a:br>
            <a:r>
              <a:rPr lang="en-US"/>
              <a:t>Up to</a:t>
            </a:r>
            <a:br>
              <a:rPr lang="en-US"/>
            </a:br>
            <a:r>
              <a:rPr lang="en-US"/>
              <a:t>Three Lines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4673F1BD-AAA3-D8FF-20C1-E7CF655A0A3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629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2.xml"/><Relationship Id="rId75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hyperlink" Target="https://www.progress.com/" TargetMode="Externa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D4BAA7-03DD-44E7-AAFA-2970D3D54D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2797118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1" imgW="349" imgH="349" progId="TCLayout.ActiveDocument.1">
                  <p:embed/>
                </p:oleObj>
              </mc:Choice>
              <mc:Fallback>
                <p:oleObj name="think-cell Slide" r:id="rId71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D4BAA7-03DD-44E7-AAFA-2970D3D54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A4882C-43B6-4419-AD7D-B146CF7A7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3600" y="1677989"/>
            <a:ext cx="10746088" cy="45369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bg-BG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 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TH LEVEL</a:t>
            </a:r>
          </a:p>
          <a:p>
            <a:pPr lvl="4"/>
            <a:endParaRPr lang="en-US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736C8E14-F9BC-E647-849A-249E89A17F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365281"/>
            <a:ext cx="10746088" cy="1312708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endParaRPr lang="en-BG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7AB045D-1123-C741-B93A-5E364D752A5C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00406F-91C3-374E-A473-E987487E33DA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5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pic>
        <p:nvPicPr>
          <p:cNvPr id="9" name="Picture 2">
            <a:hlinkClick r:id="rId73"/>
            <a:extLst>
              <a:ext uri="{FF2B5EF4-FFF2-40B4-BE49-F238E27FC236}">
                <a16:creationId xmlns:a16="http://schemas.microsoft.com/office/drawing/2014/main" id="{C68807BC-3337-44CB-B44B-34553DF69BB0}"/>
              </a:ext>
            </a:extLst>
          </p:cNvPr>
          <p:cNvPicPr>
            <a:picLocks noChangeAspect="1"/>
          </p:cNvPicPr>
          <p:nvPr userDrawn="1"/>
        </p:nvPicPr>
        <p:blipFill>
          <a:blip r:embed="rId7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465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74" r:id="rId2"/>
    <p:sldLayoutId id="2147483864" r:id="rId3"/>
    <p:sldLayoutId id="2147483882" r:id="rId4"/>
    <p:sldLayoutId id="2147483887" r:id="rId5"/>
    <p:sldLayoutId id="2147483883" r:id="rId6"/>
    <p:sldLayoutId id="2147483863" r:id="rId7"/>
    <p:sldLayoutId id="2147483880" r:id="rId8"/>
    <p:sldLayoutId id="2147483811" r:id="rId9"/>
    <p:sldLayoutId id="2147483866" r:id="rId10"/>
    <p:sldLayoutId id="2147483884" r:id="rId11"/>
    <p:sldLayoutId id="2147483840" r:id="rId12"/>
    <p:sldLayoutId id="2147483841" r:id="rId13"/>
    <p:sldLayoutId id="2147483800" r:id="rId14"/>
    <p:sldLayoutId id="2147483870" r:id="rId15"/>
    <p:sldLayoutId id="2147483820" r:id="rId16"/>
    <p:sldLayoutId id="2147483649" r:id="rId17"/>
    <p:sldLayoutId id="2147483727" r:id="rId18"/>
    <p:sldLayoutId id="2147483845" r:id="rId19"/>
    <p:sldLayoutId id="2147483857" r:id="rId20"/>
    <p:sldLayoutId id="2147483826" r:id="rId21"/>
    <p:sldLayoutId id="2147483869" r:id="rId22"/>
    <p:sldLayoutId id="2147483858" r:id="rId23"/>
    <p:sldLayoutId id="2147483867" r:id="rId24"/>
    <p:sldLayoutId id="2147483903" r:id="rId25"/>
    <p:sldLayoutId id="2147483904" r:id="rId26"/>
    <p:sldLayoutId id="2147483905" r:id="rId27"/>
    <p:sldLayoutId id="2147483878" r:id="rId28"/>
    <p:sldLayoutId id="2147483817" r:id="rId29"/>
    <p:sldLayoutId id="2147483879" r:id="rId30"/>
    <p:sldLayoutId id="2147483726" r:id="rId31"/>
    <p:sldLayoutId id="2147483821" r:id="rId32"/>
    <p:sldLayoutId id="2147483822" r:id="rId33"/>
    <p:sldLayoutId id="2147483824" r:id="rId34"/>
    <p:sldLayoutId id="2147483827" r:id="rId35"/>
    <p:sldLayoutId id="2147483851" r:id="rId36"/>
    <p:sldLayoutId id="2147483852" r:id="rId37"/>
    <p:sldLayoutId id="2147483732" r:id="rId38"/>
    <p:sldLayoutId id="2147483839" r:id="rId39"/>
    <p:sldLayoutId id="2147483877" r:id="rId40"/>
    <p:sldLayoutId id="2147483836" r:id="rId41"/>
    <p:sldLayoutId id="2147483799" r:id="rId42"/>
    <p:sldLayoutId id="2147483793" r:id="rId43"/>
    <p:sldLayoutId id="2147483798" r:id="rId44"/>
    <p:sldLayoutId id="2147483885" r:id="rId45"/>
    <p:sldLayoutId id="2147483886" r:id="rId46"/>
    <p:sldLayoutId id="2147483846" r:id="rId47"/>
    <p:sldLayoutId id="2147483902" r:id="rId48"/>
    <p:sldLayoutId id="2147483833" r:id="rId49"/>
    <p:sldLayoutId id="2147483794" r:id="rId50"/>
    <p:sldLayoutId id="2147483889" r:id="rId51"/>
    <p:sldLayoutId id="2147483908" r:id="rId52"/>
    <p:sldLayoutId id="2147483907" r:id="rId53"/>
    <p:sldLayoutId id="2147483906" r:id="rId54"/>
    <p:sldLayoutId id="2147483890" r:id="rId55"/>
    <p:sldLayoutId id="2147483895" r:id="rId56"/>
    <p:sldLayoutId id="2147483897" r:id="rId57"/>
    <p:sldLayoutId id="2147483901" r:id="rId58"/>
    <p:sldLayoutId id="2147483893" r:id="rId59"/>
    <p:sldLayoutId id="2147483900" r:id="rId60"/>
    <p:sldLayoutId id="2147483899" r:id="rId61"/>
    <p:sldLayoutId id="2147483898" r:id="rId62"/>
    <p:sldLayoutId id="2147483892" r:id="rId63"/>
    <p:sldLayoutId id="2147483891" r:id="rId64"/>
    <p:sldLayoutId id="2147483896" r:id="rId65"/>
    <p:sldLayoutId id="2147483894" r:id="rId66"/>
    <p:sldLayoutId id="2147483855" r:id="rId67"/>
    <p:sldLayoutId id="2147483856" r:id="rId6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 spc="-100" baseline="0">
          <a:solidFill>
            <a:schemeClr val="tx1">
              <a:lumMod val="85000"/>
              <a:lumOff val="15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5425" indent="-26142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4"/>
        </a:buClr>
        <a:buSzPct val="150000"/>
        <a:buFont typeface="Arial" panose="020B0604020202020204" pitchFamily="34" charset="0"/>
        <a:buChar char="•"/>
        <a:tabLst/>
        <a:defRPr sz="2400" b="0" i="0" kern="1200" spc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47675" indent="-2222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4"/>
        </a:buClr>
        <a:buSzPct val="115000"/>
        <a:buFont typeface="Arial" panose="020B0604020202020204" pitchFamily="34" charset="0"/>
        <a:buChar char="•"/>
        <a:tabLst/>
        <a:defRPr sz="2400" b="0" i="0" kern="1200" spc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77850" indent="-1301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4"/>
        </a:buClr>
        <a:buSzPct val="90000"/>
        <a:buFont typeface="Wingdings" pitchFamily="2" charset="2"/>
        <a:buChar char="§"/>
        <a:tabLst/>
        <a:defRPr sz="20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890588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4"/>
        </a:buClr>
        <a:buSzPct val="70000"/>
        <a:buFont typeface="Wingdings" pitchFamily="2" charset="2"/>
        <a:buChar char="§"/>
        <a:tabLst/>
        <a:defRPr sz="20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1557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4"/>
        </a:buClr>
        <a:buSzPct val="90000"/>
        <a:buFont typeface="Arial" panose="020B0503030202060203" pitchFamily="34" charset="0"/>
        <a:buChar char="–"/>
        <a:tabLst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335088" indent="-179388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accent4"/>
        </a:buClr>
        <a:buSzPct val="80000"/>
        <a:buFont typeface="Wingdings" pitchFamily="2" charset="2"/>
        <a:buChar char="§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43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1" userDrawn="1">
          <p15:clr>
            <a:srgbClr val="A4A3A4"/>
          </p15:clr>
        </p15:guide>
        <p15:guide id="2" pos="455" userDrawn="1">
          <p15:clr>
            <a:srgbClr val="9FCC3B"/>
          </p15:clr>
        </p15:guide>
        <p15:guide id="4" pos="7225" userDrawn="1">
          <p15:clr>
            <a:srgbClr val="F26B43"/>
          </p15:clr>
        </p15:guide>
        <p15:guide id="7" orient="horz" pos="3929" userDrawn="1">
          <p15:clr>
            <a:srgbClr val="F26B43"/>
          </p15:clr>
        </p15:guide>
        <p15:guide id="8" orient="horz" pos="339" userDrawn="1">
          <p15:clr>
            <a:srgbClr val="F26B43"/>
          </p15:clr>
        </p15:guide>
        <p15:guide id="9" orient="horz" pos="626" userDrawn="1">
          <p15:clr>
            <a:srgbClr val="A4A3A4"/>
          </p15:clr>
        </p15:guide>
        <p15:guide id="10" orient="horz" pos="766" userDrawn="1">
          <p15:clr>
            <a:srgbClr val="A4A3A4"/>
          </p15:clr>
        </p15:guide>
        <p15:guide id="11" orient="horz" pos="912" userDrawn="1">
          <p15:clr>
            <a:srgbClr val="A4A3A4"/>
          </p15:clr>
        </p15:guide>
        <p15:guide id="12" orient="horz" pos="1057" userDrawn="1">
          <p15:clr>
            <a:srgbClr val="A4A3A4"/>
          </p15:clr>
        </p15:guide>
        <p15:guide id="13" orient="horz" pos="1202" userDrawn="1">
          <p15:clr>
            <a:srgbClr val="A4A3A4"/>
          </p15:clr>
        </p15:guide>
        <p15:guide id="14" orient="horz" pos="1344" userDrawn="1">
          <p15:clr>
            <a:srgbClr val="A4A3A4"/>
          </p15:clr>
        </p15:guide>
        <p15:guide id="15" orient="horz" pos="1488" userDrawn="1">
          <p15:clr>
            <a:srgbClr val="A4A3A4"/>
          </p15:clr>
        </p15:guide>
        <p15:guide id="16" orient="horz" pos="1633" userDrawn="1">
          <p15:clr>
            <a:srgbClr val="A4A3A4"/>
          </p15:clr>
        </p15:guide>
        <p15:guide id="17" orient="horz" pos="1778" userDrawn="1">
          <p15:clr>
            <a:srgbClr val="A4A3A4"/>
          </p15:clr>
        </p15:guide>
        <p15:guide id="18" orient="horz" pos="1924" userDrawn="1">
          <p15:clr>
            <a:srgbClr val="A4A3A4"/>
          </p15:clr>
        </p15:guide>
        <p15:guide id="19" orient="horz" pos="2064" userDrawn="1">
          <p15:clr>
            <a:srgbClr val="A4A3A4"/>
          </p15:clr>
        </p15:guide>
        <p15:guide id="20" orient="horz" pos="2215" userDrawn="1">
          <p15:clr>
            <a:srgbClr val="A4A3A4"/>
          </p15:clr>
        </p15:guide>
        <p15:guide id="21" orient="horz" pos="2354" userDrawn="1">
          <p15:clr>
            <a:srgbClr val="A4A3A4"/>
          </p15:clr>
        </p15:guide>
        <p15:guide id="22" orient="horz" pos="2500" userDrawn="1">
          <p15:clr>
            <a:srgbClr val="A4A3A4"/>
          </p15:clr>
        </p15:guide>
        <p15:guide id="23" orient="horz" pos="2645" userDrawn="1">
          <p15:clr>
            <a:srgbClr val="A4A3A4"/>
          </p15:clr>
        </p15:guide>
        <p15:guide id="24" orient="horz" pos="2785" userDrawn="1">
          <p15:clr>
            <a:srgbClr val="A4A3A4"/>
          </p15:clr>
        </p15:guide>
        <p15:guide id="25" orient="horz" pos="2930" userDrawn="1">
          <p15:clr>
            <a:srgbClr val="A4A3A4"/>
          </p15:clr>
        </p15:guide>
        <p15:guide id="26" orient="horz" pos="3076" userDrawn="1">
          <p15:clr>
            <a:srgbClr val="A4A3A4"/>
          </p15:clr>
        </p15:guide>
        <p15:guide id="27" orient="horz" pos="3216" userDrawn="1">
          <p15:clr>
            <a:srgbClr val="A4A3A4"/>
          </p15:clr>
        </p15:guide>
        <p15:guide id="28" orient="horz" pos="3361" userDrawn="1">
          <p15:clr>
            <a:srgbClr val="A4A3A4"/>
          </p15:clr>
        </p15:guide>
        <p15:guide id="29" orient="horz" pos="3506" userDrawn="1">
          <p15:clr>
            <a:srgbClr val="A4A3A4"/>
          </p15:clr>
        </p15:guide>
        <p15:guide id="30" orient="horz" pos="3652" userDrawn="1">
          <p15:clr>
            <a:srgbClr val="A4A3A4"/>
          </p15:clr>
        </p15:guide>
        <p15:guide id="31" orient="horz" pos="3797" userDrawn="1">
          <p15:clr>
            <a:srgbClr val="A4A3A4"/>
          </p15:clr>
        </p15:guide>
        <p15:guide id="32" pos="2048" userDrawn="1">
          <p15:clr>
            <a:srgbClr val="9FCC3B"/>
          </p15:clr>
        </p15:guide>
        <p15:guide id="33" pos="2175" userDrawn="1">
          <p15:clr>
            <a:srgbClr val="9FCC3B"/>
          </p15:clr>
        </p15:guide>
        <p15:guide id="34" pos="3780" userDrawn="1">
          <p15:clr>
            <a:srgbClr val="9FCC3B"/>
          </p15:clr>
        </p15:guide>
        <p15:guide id="35" pos="3892" userDrawn="1">
          <p15:clr>
            <a:srgbClr val="9FCC3B"/>
          </p15:clr>
        </p15:guide>
        <p15:guide id="36" pos="5501" userDrawn="1">
          <p15:clr>
            <a:srgbClr val="9FCC3B"/>
          </p15:clr>
        </p15:guide>
        <p15:guide id="37" pos="5617" userDrawn="1">
          <p15:clr>
            <a:srgbClr val="9FCC3B"/>
          </p15:clr>
        </p15:guide>
        <p15:guide id="38" pos="2634" userDrawn="1">
          <p15:clr>
            <a:srgbClr val="C35EA4"/>
          </p15:clr>
        </p15:guide>
        <p15:guide id="39" pos="2746" userDrawn="1">
          <p15:clr>
            <a:srgbClr val="C35EA4"/>
          </p15:clr>
        </p15:guide>
        <p15:guide id="40" pos="4929" userDrawn="1">
          <p15:clr>
            <a:srgbClr val="C35EA4"/>
          </p15:clr>
        </p15:guide>
        <p15:guide id="41" pos="5041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E5779_849A79BD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9.emf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tinyurl.com/jz5jh9vp" TargetMode="External"/><Relationship Id="rId2" Type="http://schemas.openxmlformats.org/officeDocument/2006/relationships/hyperlink" Target="https://github.com/antonmironovv/TelerikDataMind-Public" TargetMode="Externa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203A671-33F9-9545-6987-9E4C2DD1A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57" y="4788728"/>
            <a:ext cx="10747374" cy="936073"/>
          </a:xfrm>
        </p:spPr>
        <p:txBody>
          <a:bodyPr/>
          <a:lstStyle/>
          <a:p>
            <a:pPr algn="ctr"/>
            <a:r>
              <a:rPr lang="en-US" b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I-Powered Data Visualization Dashboard</a:t>
            </a:r>
            <a:endParaRPr lang="en-US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5" name="Picture 4" descr="A logo with purple dots and white text&#10;&#10;AI-generated content may be incorrect.">
            <a:extLst>
              <a:ext uri="{FF2B5EF4-FFF2-40B4-BE49-F238E27FC236}">
                <a16:creationId xmlns:a16="http://schemas.microsoft.com/office/drawing/2014/main" id="{080387A2-150B-6DDB-6E2B-C85E8CFDD7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857" y="600206"/>
            <a:ext cx="5596910" cy="2824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7362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0A8561-30CF-E0E8-72C0-A4BED932B4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5673" y="293411"/>
            <a:ext cx="8060741" cy="829037"/>
          </a:xfrm>
        </p:spPr>
        <p:txBody>
          <a:bodyPr/>
          <a:lstStyle/>
          <a:p>
            <a:r>
              <a:rPr lang="en-US"/>
              <a:t>Project Purpose</a:t>
            </a:r>
            <a:endParaRPr lang="en-B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94BCF8-8E32-30A5-9DDA-358AF09113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5673" y="1512946"/>
            <a:ext cx="8530544" cy="2611185"/>
          </a:xfrm>
        </p:spPr>
        <p:txBody>
          <a:bodyPr vert="horz" lIns="0" tIns="0" rIns="0" bIns="0" rtlCol="0" anchor="t">
            <a:noAutofit/>
          </a:bodyPr>
          <a:lstStyle/>
          <a:p>
            <a:pPr indent="-260985"/>
            <a:r>
              <a:rPr lang="en-US" sz="2000">
                <a:cs typeface="Arial"/>
              </a:rPr>
              <a:t>Generate interactive dashboards based on uploaded data file</a:t>
            </a:r>
          </a:p>
          <a:p>
            <a:pPr indent="-260985"/>
            <a:r>
              <a:rPr lang="en-US" sz="2000">
                <a:cs typeface="Arial"/>
              </a:rPr>
              <a:t>Use Kendo UI components</a:t>
            </a:r>
          </a:p>
          <a:p>
            <a:pPr indent="-260985"/>
            <a:r>
              <a:rPr lang="en-US" sz="2000">
                <a:cs typeface="Arial"/>
              </a:rPr>
              <a:t>Use AI to analyze the data and select the optimal UI components</a:t>
            </a:r>
          </a:p>
          <a:p>
            <a:pPr indent="-260985"/>
            <a:r>
              <a:rPr lang="en-US" sz="2000">
                <a:cs typeface="Arial"/>
              </a:rPr>
              <a:t>Use natural language prompts for data analysis</a:t>
            </a:r>
          </a:p>
          <a:p>
            <a:pPr marL="225425" lvl="1" indent="0">
              <a:buNone/>
            </a:pPr>
            <a:endParaRPr lang="en-US" sz="2000"/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5458A81D-87A6-75A2-0357-6088E71135FF}"/>
              </a:ext>
            </a:extLst>
          </p:cNvPr>
          <p:cNvSpPr txBox="1">
            <a:spLocks/>
          </p:cNvSpPr>
          <p:nvPr/>
        </p:nvSpPr>
        <p:spPr>
          <a:xfrm>
            <a:off x="3405673" y="5664529"/>
            <a:ext cx="8530544" cy="434863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-1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000" b="0" dirty="0">
                <a:solidFill>
                  <a:schemeClr val="tx1"/>
                </a:solidFill>
                <a:latin typeface="+mn-lt"/>
                <a:ea typeface="Roboto"/>
                <a:cs typeface="Roboto"/>
              </a:rPr>
              <a:t>Team: Anton (MVC &amp; Core), Iva (UX &amp; UI), Mihaela (MVC &amp; Core)</a:t>
            </a:r>
          </a:p>
          <a:p>
            <a:pPr algn="ctr"/>
            <a:endParaRPr lang="en-US" sz="240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6526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83EAC9-B92B-ECA2-ACD3-6AEF135D1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8946" y="242732"/>
            <a:ext cx="8060741" cy="13127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Key Features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E1B2C8-DE07-5769-4AA1-CEE9F38FF5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08946" y="1455480"/>
            <a:ext cx="8287152" cy="4764444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>
              <a:lnSpc>
                <a:spcPct val="150000"/>
              </a:lnSpc>
            </a:pPr>
            <a:r>
              <a:rPr lang="en-US" sz="2000" dirty="0">
                <a:cs typeface="Arial"/>
              </a:rPr>
              <a:t>Enable non-technical users to create professional dashboards in no time</a:t>
            </a:r>
            <a:endParaRPr lang="en-US" sz="2000" dirty="0"/>
          </a:p>
          <a:p>
            <a:pPr marL="342900" indent="-342900">
              <a:lnSpc>
                <a:spcPct val="150000"/>
              </a:lnSpc>
            </a:pPr>
            <a:r>
              <a:rPr lang="en-US" sz="2000" dirty="0">
                <a:cs typeface="Arial"/>
              </a:rPr>
              <a:t>Transform raw data (Excel files, CSV files, etc.) into interactive visualizations through a single click</a:t>
            </a:r>
          </a:p>
          <a:p>
            <a:pPr marL="342900" indent="-342900">
              <a:lnSpc>
                <a:spcPct val="150000"/>
              </a:lnSpc>
            </a:pPr>
            <a:r>
              <a:rPr lang="en-US" sz="2000" dirty="0">
                <a:cs typeface="Arial"/>
              </a:rPr>
              <a:t>Enter specific instructions through a prompt</a:t>
            </a:r>
          </a:p>
          <a:p>
            <a:pPr marL="342900" indent="-342900">
              <a:lnSpc>
                <a:spcPct val="150000"/>
              </a:lnSpc>
            </a:pPr>
            <a:r>
              <a:rPr lang="en-US" sz="2000" dirty="0">
                <a:cs typeface="Arial"/>
              </a:rPr>
              <a:t>Choose the UI components</a:t>
            </a:r>
          </a:p>
          <a:p>
            <a:pPr marL="342900" indent="-342900">
              <a:lnSpc>
                <a:spcPct val="150000"/>
              </a:lnSpc>
            </a:pPr>
            <a:r>
              <a:rPr lang="en-US" sz="2000" dirty="0">
                <a:cs typeface="Arial"/>
              </a:rPr>
              <a:t>Leverage AI to suggest optimal UI components and analyze the data</a:t>
            </a:r>
          </a:p>
          <a:p>
            <a:pPr marL="342900" indent="-342900">
              <a:lnSpc>
                <a:spcPct val="150000"/>
              </a:lnSpc>
            </a:pPr>
            <a:endParaRPr lang="en-US" sz="2000"/>
          </a:p>
          <a:p>
            <a:pPr marL="342900" indent="-342900">
              <a:lnSpc>
                <a:spcPct val="150000"/>
              </a:lnSpc>
            </a:pPr>
            <a:endParaRPr lang="en-US" sz="2000"/>
          </a:p>
          <a:p>
            <a:pPr marL="342900" indent="-342900">
              <a:lnSpc>
                <a:spcPct val="150000"/>
              </a:lnSpc>
            </a:pPr>
            <a:endParaRPr lang="en-US" sz="2000"/>
          </a:p>
          <a:p>
            <a:pPr marL="342900" indent="-342900">
              <a:lnSpc>
                <a:spcPct val="150000"/>
              </a:lnSpc>
            </a:pPr>
            <a:endParaRPr lang="en-US" sz="2000"/>
          </a:p>
          <a:p>
            <a:pPr indent="-260985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71622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B740ED-29E2-F666-0E82-CED2780E035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Demonstration</a:t>
            </a:r>
            <a:endParaRPr lang="en-B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C8319E-7FE9-857F-8530-5CA472E20A2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1247775"/>
            <a:ext cx="7531100" cy="5189538"/>
          </a:xfrm>
        </p:spPr>
        <p:txBody>
          <a:bodyPr vert="horz" lIns="0" tIns="0" rIns="0" bIns="0" rtlCol="0" anchor="t">
            <a:noAutofit/>
          </a:bodyPr>
          <a:lstStyle/>
          <a:p>
            <a:pPr marL="225425" lvl="1" indent="0">
              <a:buNone/>
            </a:pPr>
            <a:endParaRPr lang="en-US"/>
          </a:p>
          <a:p>
            <a:pPr indent="-260985">
              <a:buSzPct val="114999"/>
            </a:pPr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5136373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CD5DC5-13CD-F084-761A-AA49829298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4"/>
            <a:ext cx="7342187" cy="1130526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Business Valu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4DD061-2835-18A3-53D5-16B8820806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None/>
            </a:pPr>
            <a:br>
              <a:rPr lang="en-US">
                <a:latin typeface="Arial" panose="020B0604020202020204" pitchFamily="34" charset="0"/>
              </a:rPr>
            </a:br>
            <a:endParaRPr lang="en-US">
              <a:latin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42F912D-2C07-1971-59BC-BED3F784E4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1760" y="1529898"/>
            <a:ext cx="1649730" cy="1384389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6012D45-77B5-ACD2-388A-D0273E8B2A57}"/>
              </a:ext>
            </a:extLst>
          </p:cNvPr>
          <p:cNvSpPr txBox="1">
            <a:spLocks/>
          </p:cNvSpPr>
          <p:nvPr/>
        </p:nvSpPr>
        <p:spPr>
          <a:xfrm>
            <a:off x="722314" y="1668690"/>
            <a:ext cx="6938120" cy="4764444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5425" indent="-261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  <a:tabLst/>
              <a:defRPr sz="2400" b="0" i="0" kern="1200" spc="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4767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SzPct val="115000"/>
              <a:buFont typeface="Arial" panose="020B0604020202020204" pitchFamily="34" charset="0"/>
              <a:buChar char="•"/>
              <a:tabLst/>
              <a:defRPr sz="2400" b="0" i="0" kern="1200" spc="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77850" indent="-1301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tabLst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90588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SzPct val="70000"/>
              <a:buFont typeface="Wingdings" pitchFamily="2" charset="2"/>
              <a:buChar char="§"/>
              <a:tabLst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557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SzPct val="90000"/>
              <a:buFont typeface="Arial" panose="020B0503030202060203" pitchFamily="34" charset="0"/>
              <a:buChar char="–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335088" indent="-1793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>
                <a:schemeClr val="accent4"/>
              </a:buClr>
              <a:buSzPct val="80000"/>
              <a:buFont typeface="Wingdings" pitchFamily="2" charset="2"/>
              <a:buChar char="§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60985"/>
            <a:r>
              <a:rPr lang="en-US" sz="2000" dirty="0">
                <a:cs typeface="Arial"/>
              </a:rPr>
              <a:t>Reduces dashboards/reports creation from hours to seconds</a:t>
            </a:r>
            <a:endParaRPr lang="en-US" dirty="0"/>
          </a:p>
          <a:p>
            <a:pPr indent="-260985"/>
            <a:r>
              <a:rPr lang="en-US" sz="2000" dirty="0">
                <a:cs typeface="Arial"/>
              </a:rPr>
              <a:t>Provides real-time insights from uploaded data</a:t>
            </a:r>
          </a:p>
          <a:p>
            <a:pPr indent="-260985"/>
            <a:r>
              <a:rPr lang="en-US" sz="2000" dirty="0">
                <a:cs typeface="Arial"/>
              </a:rPr>
              <a:t>Uses a variety of Chart types and Data Management Kendo UI components</a:t>
            </a:r>
          </a:p>
          <a:p>
            <a:pPr indent="-260985"/>
            <a:r>
              <a:rPr lang="en-US" sz="2000" dirty="0">
                <a:cs typeface="Arial"/>
              </a:rPr>
              <a:t>Provides multiple built-in features supported by the Kendo UI components</a:t>
            </a:r>
          </a:p>
          <a:p>
            <a:pPr indent="-260985"/>
            <a:r>
              <a:rPr lang="en-US" sz="2000" dirty="0">
                <a:cs typeface="Arial"/>
              </a:rPr>
              <a:t>Removes the need for specialized BI consultants and technical teams.</a:t>
            </a:r>
            <a:br>
              <a:rPr lang="en-US" sz="1500" dirty="0">
                <a:cs typeface="Arial"/>
              </a:rPr>
            </a:br>
            <a:endParaRPr lang="en-US" sz="1500" dirty="0">
              <a:cs typeface="Arial"/>
            </a:endParaRPr>
          </a:p>
          <a:p>
            <a:pPr indent="-260985"/>
            <a:endParaRPr lang="en-US"/>
          </a:p>
          <a:p>
            <a:pPr indent="-260985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2986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597BF8-5152-B6DF-C8EA-275C9B2641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56956" y="1480133"/>
            <a:ext cx="8501240" cy="4127565"/>
          </a:xfrm>
        </p:spPr>
        <p:txBody>
          <a:bodyPr vert="horz" lIns="0" tIns="0" rIns="0" bIns="0" rtlCol="0" anchor="t">
            <a:noAutofit/>
          </a:bodyPr>
          <a:lstStyle/>
          <a:p>
            <a:pPr indent="-260985">
              <a:lnSpc>
                <a:spcPct val="200000"/>
              </a:lnSpc>
            </a:pPr>
            <a:r>
              <a:rPr lang="en-US">
                <a:cs typeface="Arial"/>
              </a:rPr>
              <a:t>Multi-format file support (JSON, XML, databases)</a:t>
            </a:r>
          </a:p>
          <a:p>
            <a:pPr indent="-260985">
              <a:lnSpc>
                <a:spcPct val="200000"/>
              </a:lnSpc>
            </a:pPr>
            <a:r>
              <a:rPr lang="en-US">
                <a:cs typeface="Arial"/>
              </a:rPr>
              <a:t>Export and share the generated dashboards</a:t>
            </a:r>
          </a:p>
          <a:p>
            <a:pPr indent="-260985">
              <a:lnSpc>
                <a:spcPct val="200000"/>
              </a:lnSpc>
            </a:pPr>
            <a:r>
              <a:rPr lang="en-US">
                <a:cs typeface="Arial"/>
              </a:rPr>
              <a:t>Advanced AI chart recommendations based on data patterns</a:t>
            </a:r>
          </a:p>
          <a:p>
            <a:pPr indent="-260985">
              <a:lnSpc>
                <a:spcPct val="200000"/>
              </a:lnSpc>
            </a:pPr>
            <a:r>
              <a:rPr lang="en-US">
                <a:cs typeface="Arial"/>
              </a:rPr>
              <a:t>Real-time data source connections (APIs, databases)</a:t>
            </a:r>
          </a:p>
          <a:p>
            <a:pPr indent="-260985">
              <a:lnSpc>
                <a:spcPct val="200000"/>
              </a:lnSpc>
            </a:pPr>
            <a:r>
              <a:rPr lang="en-US">
                <a:cs typeface="Arial"/>
              </a:rPr>
              <a:t>Industry-specific dashboard templates</a:t>
            </a:r>
          </a:p>
          <a:p>
            <a:pPr indent="-260985"/>
            <a:endParaRPr lang="en-US"/>
          </a:p>
          <a:p>
            <a:pPr indent="-260985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F3056FF-70CB-9D72-4A0F-7E4DA62ED91E}"/>
              </a:ext>
            </a:extLst>
          </p:cNvPr>
          <p:cNvSpPr txBox="1">
            <a:spLocks/>
          </p:cNvSpPr>
          <p:nvPr/>
        </p:nvSpPr>
        <p:spPr>
          <a:xfrm>
            <a:off x="2956956" y="349607"/>
            <a:ext cx="7342187" cy="1130526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-1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Future Improvements</a:t>
            </a:r>
          </a:p>
        </p:txBody>
      </p:sp>
    </p:spTree>
    <p:extLst>
      <p:ext uri="{BB962C8B-B14F-4D97-AF65-F5344CB8AC3E}">
        <p14:creationId xmlns:p14="http://schemas.microsoft.com/office/powerpoint/2010/main" val="35399878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F3509A-34D8-1E8A-1F38-B29BC4A5CE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4EB4E85D-CEE2-3034-7C89-7378BFB285C8}"/>
              </a:ext>
            </a:extLst>
          </p:cNvPr>
          <p:cNvSpPr txBox="1">
            <a:spLocks/>
          </p:cNvSpPr>
          <p:nvPr/>
        </p:nvSpPr>
        <p:spPr>
          <a:xfrm>
            <a:off x="2956956" y="349607"/>
            <a:ext cx="7342187" cy="703998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-1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Important Links:</a:t>
            </a:r>
            <a:endParaRPr lang="en-US"/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5B842A4A-8BD1-96E1-7BB7-A039253F4399}"/>
              </a:ext>
            </a:extLst>
          </p:cNvPr>
          <p:cNvSpPr txBox="1">
            <a:spLocks/>
          </p:cNvSpPr>
          <p:nvPr/>
        </p:nvSpPr>
        <p:spPr>
          <a:xfrm>
            <a:off x="2956824" y="1815386"/>
            <a:ext cx="8746056" cy="780996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-1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000" b="0">
                <a:solidFill>
                  <a:schemeClr val="tx1"/>
                </a:solidFill>
                <a:latin typeface="+mn-lt"/>
                <a:ea typeface="Roboto"/>
                <a:cs typeface="Roboto"/>
              </a:rPr>
              <a:t>GitHub Repo: </a:t>
            </a:r>
          </a:p>
          <a:p>
            <a:r>
              <a:rPr lang="en-US" sz="2400" b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2"/>
              </a:rPr>
              <a:t>https://github.com/antonmironovv/TelerikDataMind-Public</a:t>
            </a:r>
            <a:endParaRPr lang="en-US" sz="2400" b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endParaRPr lang="en-US" sz="2400" b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EBDD4E31-6F64-7220-3976-E2D4B43BC217}"/>
              </a:ext>
            </a:extLst>
          </p:cNvPr>
          <p:cNvSpPr txBox="1">
            <a:spLocks/>
          </p:cNvSpPr>
          <p:nvPr/>
        </p:nvSpPr>
        <p:spPr>
          <a:xfrm>
            <a:off x="2956823" y="2812248"/>
            <a:ext cx="8746056" cy="780996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-1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000" b="0" dirty="0">
                <a:solidFill>
                  <a:schemeClr val="tx1"/>
                </a:solidFill>
                <a:latin typeface="+mn-lt"/>
                <a:ea typeface="Roboto"/>
                <a:cs typeface="Roboto"/>
              </a:rPr>
              <a:t>Figma Design: </a:t>
            </a:r>
          </a:p>
          <a:p>
            <a:r>
              <a:rPr lang="en-US" sz="2400" b="0" dirty="0">
                <a:solidFill>
                  <a:schemeClr val="tx1"/>
                </a:solidFill>
                <a:latin typeface="Arial"/>
                <a:ea typeface="Roboto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inyurl.com/jz5jh9vp</a:t>
            </a:r>
            <a:endParaRPr lang="en-US" sz="2400" b="0" dirty="0">
              <a:solidFill>
                <a:schemeClr val="tx1"/>
              </a:solidFill>
              <a:latin typeface="Arial"/>
              <a:ea typeface="Roboto"/>
              <a:cs typeface="Arial"/>
            </a:endParaRPr>
          </a:p>
          <a:p>
            <a:endParaRPr lang="en-US" sz="2400" b="0" dirty="0">
              <a:solidFill>
                <a:schemeClr val="tx1"/>
              </a:solidFill>
              <a:latin typeface="Arial"/>
              <a:ea typeface="Roboto" panose="02000000000000000000" pitchFamily="2" charset="0"/>
              <a:cs typeface="Arial"/>
            </a:endParaRPr>
          </a:p>
          <a:p>
            <a:pPr algn="ctr"/>
            <a:endParaRPr lang="en-US" sz="2400" b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45112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88863E-7F6B-255C-EE63-98EBF6F56C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F51C8A92-2524-4E0B-FF2B-50F0D38685DA}"/>
              </a:ext>
            </a:extLst>
          </p:cNvPr>
          <p:cNvSpPr txBox="1">
            <a:spLocks/>
          </p:cNvSpPr>
          <p:nvPr/>
        </p:nvSpPr>
        <p:spPr>
          <a:xfrm>
            <a:off x="2956956" y="349607"/>
            <a:ext cx="7342187" cy="703998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-1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rial"/>
                <a:cs typeface="Arial"/>
              </a:rPr>
              <a:t>Contacts:</a:t>
            </a:r>
            <a:endParaRPr lang="en-US" dirty="0"/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0E66A1E2-8599-B596-842B-E5C2975DB80C}"/>
              </a:ext>
            </a:extLst>
          </p:cNvPr>
          <p:cNvSpPr txBox="1">
            <a:spLocks/>
          </p:cNvSpPr>
          <p:nvPr/>
        </p:nvSpPr>
        <p:spPr>
          <a:xfrm>
            <a:off x="2956824" y="1815386"/>
            <a:ext cx="8746056" cy="780996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-1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000" b="0" dirty="0">
                <a:solidFill>
                  <a:schemeClr val="tx1"/>
                </a:solidFill>
                <a:latin typeface="+mn-lt"/>
                <a:ea typeface="Roboto"/>
                <a:cs typeface="Roboto"/>
              </a:rPr>
              <a:t>Anton Mironov: </a:t>
            </a:r>
          </a:p>
          <a:p>
            <a:r>
              <a:rPr lang="en-US" sz="2000" b="0" dirty="0">
                <a:solidFill>
                  <a:schemeClr val="bg2">
                    <a:lumMod val="49000"/>
                  </a:schemeClr>
                </a:solidFill>
                <a:latin typeface="Arial"/>
                <a:ea typeface="Roboto"/>
                <a:cs typeface="Roboto"/>
              </a:rPr>
              <a:t>Anton.Mironov@progress.com</a:t>
            </a:r>
            <a:endParaRPr lang="en-US" sz="2000" b="0" dirty="0">
              <a:solidFill>
                <a:schemeClr val="bg2">
                  <a:lumMod val="49000"/>
                </a:schemeClr>
              </a:solidFill>
              <a:latin typeface="Arial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endParaRPr lang="en-US" sz="2400" b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1C9A91E5-2056-B0CE-12DE-ADDAC2D584C3}"/>
              </a:ext>
            </a:extLst>
          </p:cNvPr>
          <p:cNvSpPr txBox="1">
            <a:spLocks/>
          </p:cNvSpPr>
          <p:nvPr/>
        </p:nvSpPr>
        <p:spPr>
          <a:xfrm>
            <a:off x="2956823" y="2836178"/>
            <a:ext cx="8746056" cy="780996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-1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000" b="0" dirty="0">
                <a:solidFill>
                  <a:schemeClr val="tx1"/>
                </a:solidFill>
                <a:latin typeface="+mn-lt"/>
                <a:ea typeface="Roboto"/>
                <a:cs typeface="Roboto"/>
              </a:rPr>
              <a:t>Mihaela </a:t>
            </a:r>
            <a:r>
              <a:rPr lang="en-US" sz="2000" b="0" dirty="0" err="1">
                <a:solidFill>
                  <a:schemeClr val="tx1"/>
                </a:solidFill>
                <a:latin typeface="+mn-lt"/>
                <a:ea typeface="Roboto"/>
                <a:cs typeface="Roboto"/>
              </a:rPr>
              <a:t>Lukanova</a:t>
            </a:r>
            <a:r>
              <a:rPr lang="en-US" sz="2000" b="0" dirty="0">
                <a:solidFill>
                  <a:schemeClr val="tx1"/>
                </a:solidFill>
                <a:latin typeface="+mn-lt"/>
                <a:ea typeface="Roboto"/>
                <a:cs typeface="Roboto"/>
              </a:rPr>
              <a:t>: </a:t>
            </a:r>
          </a:p>
          <a:p>
            <a:r>
              <a:rPr lang="en-US" sz="2000" b="0" dirty="0">
                <a:solidFill>
                  <a:schemeClr val="bg2">
                    <a:lumMod val="49000"/>
                  </a:schemeClr>
                </a:solidFill>
                <a:latin typeface="Arial"/>
                <a:ea typeface="Roboto"/>
                <a:cs typeface="Arial"/>
              </a:rPr>
              <a:t>Mihaela.Lukanova@progress.com</a:t>
            </a:r>
            <a:endParaRPr lang="en-US">
              <a:solidFill>
                <a:schemeClr val="bg2">
                  <a:lumMod val="49000"/>
                </a:schemeClr>
              </a:solidFill>
            </a:endParaRPr>
          </a:p>
          <a:p>
            <a:pPr algn="ctr"/>
            <a:endParaRPr lang="en-US" sz="2400" b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Title 6">
            <a:extLst>
              <a:ext uri="{FF2B5EF4-FFF2-40B4-BE49-F238E27FC236}">
                <a16:creationId xmlns:a16="http://schemas.microsoft.com/office/drawing/2014/main" id="{4E716C7F-8ADA-14F1-DBB2-4DBB32798671}"/>
              </a:ext>
            </a:extLst>
          </p:cNvPr>
          <p:cNvSpPr txBox="1">
            <a:spLocks/>
          </p:cNvSpPr>
          <p:nvPr/>
        </p:nvSpPr>
        <p:spPr>
          <a:xfrm>
            <a:off x="2956822" y="3856970"/>
            <a:ext cx="8746056" cy="780996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-1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000" b="0" dirty="0">
                <a:solidFill>
                  <a:schemeClr val="tx1"/>
                </a:solidFill>
                <a:latin typeface="+mn-lt"/>
                <a:ea typeface="Roboto"/>
                <a:cs typeface="Roboto"/>
              </a:rPr>
              <a:t>Iva </a:t>
            </a:r>
            <a:r>
              <a:rPr lang="en-US" sz="2000" b="0" dirty="0" err="1">
                <a:solidFill>
                  <a:schemeClr val="tx1"/>
                </a:solidFill>
                <a:latin typeface="+mn-lt"/>
                <a:ea typeface="Roboto"/>
                <a:cs typeface="Roboto"/>
              </a:rPr>
              <a:t>Bitsova</a:t>
            </a:r>
            <a:r>
              <a:rPr lang="en-US" sz="2000" b="0" dirty="0">
                <a:solidFill>
                  <a:schemeClr val="tx1"/>
                </a:solidFill>
                <a:latin typeface="+mn-lt"/>
                <a:ea typeface="Roboto"/>
                <a:cs typeface="Roboto"/>
              </a:rPr>
              <a:t>: </a:t>
            </a:r>
          </a:p>
          <a:p>
            <a:r>
              <a:rPr lang="en-US" sz="2000" b="0" dirty="0">
                <a:solidFill>
                  <a:schemeClr val="bg2">
                    <a:lumMod val="49000"/>
                  </a:schemeClr>
                </a:solidFill>
                <a:latin typeface="Arial"/>
                <a:ea typeface="Roboto"/>
                <a:cs typeface="Roboto"/>
              </a:rPr>
              <a:t>Iva.Bitsova@progress.com</a:t>
            </a:r>
          </a:p>
          <a:p>
            <a:pPr algn="ctr"/>
            <a:endParaRPr lang="en-US" sz="2400" b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03335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17AA795-C7A5-0CAB-D895-2A2AA660D1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09126" y="2625935"/>
            <a:ext cx="6973747" cy="1606550"/>
          </a:xfrm>
        </p:spPr>
        <p:txBody>
          <a:bodyPr/>
          <a:lstStyle/>
          <a:p>
            <a:r>
              <a:rPr lang="en-US" sz="4800" dirty="0">
                <a:latin typeface="Arial"/>
                <a:cs typeface="Arial"/>
              </a:rPr>
              <a:t>Thank you!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6794632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rogress Palette">
      <a:dk1>
        <a:srgbClr val="000000"/>
      </a:dk1>
      <a:lt1>
        <a:srgbClr val="FFFFFF"/>
      </a:lt1>
      <a:dk2>
        <a:srgbClr val="00206B"/>
      </a:dk2>
      <a:lt2>
        <a:srgbClr val="EEF5FF"/>
      </a:lt2>
      <a:accent1>
        <a:srgbClr val="008963"/>
      </a:accent1>
      <a:accent2>
        <a:srgbClr val="00B563"/>
      </a:accent2>
      <a:accent3>
        <a:srgbClr val="2B2BB2"/>
      </a:accent3>
      <a:accent4>
        <a:srgbClr val="4B4BF7"/>
      </a:accent4>
      <a:accent5>
        <a:srgbClr val="DCECFF"/>
      </a:accent5>
      <a:accent6>
        <a:srgbClr val="FFD000"/>
      </a:accent6>
      <a:hlink>
        <a:srgbClr val="0069E8"/>
      </a:hlink>
      <a:folHlink>
        <a:srgbClr val="76C1FF"/>
      </a:folHlink>
    </a:clrScheme>
    <a:fontScheme name="Custom 6">
      <a:majorFont>
        <a:latin typeface="Arial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 algn="l">
          <a:lnSpc>
            <a:spcPts val="2700"/>
          </a:lnSpc>
          <a:defRPr sz="2400" dirty="0" smtClean="0"/>
        </a:defPPr>
      </a:lstStyle>
    </a:txDef>
  </a:objectDefaults>
  <a:extraClrSchemeLst/>
  <a:custClrLst>
    <a:custClr name="Light Green S1">
      <a:srgbClr val="4FB850"/>
    </a:custClr>
    <a:custClr name="Yellow S1">
      <a:srgbClr val="FBCE0A"/>
    </a:custClr>
    <a:custClr name="Yellow S2">
      <a:srgbClr val="FAE400"/>
    </a:custClr>
    <a:custClr name="Red S2">
      <a:srgbClr val="F1627A"/>
    </a:custClr>
    <a:custClr name="Light Blue S1">
      <a:srgbClr val="00BCED"/>
    </a:custClr>
    <a:custClr name="Blue Line">
      <a:srgbClr val="0053A5"/>
    </a:custClr>
    <a:custClr name="TEAL S3">
      <a:srgbClr val="0AA39F"/>
    </a:custClr>
    <a:custClr name="Purple S1">
      <a:srgbClr val="311B97"/>
    </a:custClr>
    <a:custClr name="Purple S2">
      <a:srgbClr val="5122B9"/>
    </a:custClr>
    <a:custClr name="Light Gray S2">
      <a:srgbClr val="DDE9F7"/>
    </a:custClr>
  </a:custClrLst>
  <a:extLst>
    <a:ext uri="{05A4C25C-085E-4340-85A3-A5531E510DB2}">
      <thm15:themeFamily xmlns:thm15="http://schemas.microsoft.com/office/thememl/2012/main" name="Presentation3" id="{AC987AAF-154D-5F47-AD1B-54F21CAA2303}" vid="{249086EA-37F2-204F-AD53-96B512D20ED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FBAC50D0F77449BFDDE51747AB246C" ma:contentTypeVersion="4" ma:contentTypeDescription="Create a new document." ma:contentTypeScope="" ma:versionID="f1ebb696d72d359a0736a4589b0066c1">
  <xsd:schema xmlns:xsd="http://www.w3.org/2001/XMLSchema" xmlns:xs="http://www.w3.org/2001/XMLSchema" xmlns:p="http://schemas.microsoft.com/office/2006/metadata/properties" xmlns:ns2="1eb11bbe-8c61-4a77-9c8f-80eb21b93a5b" targetNamespace="http://schemas.microsoft.com/office/2006/metadata/properties" ma:root="true" ma:fieldsID="6973cd86f25fb461a5250114643066dd" ns2:_="">
    <xsd:import namespace="1eb11bbe-8c61-4a77-9c8f-80eb21b93a5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b11bbe-8c61-4a77-9c8f-80eb21b93a5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C594B84-59CF-48E1-B5CE-65905B01D76A}">
  <ds:schemaRefs>
    <ds:schemaRef ds:uri="3fce477d-ddd2-48d6-8456-9e011da99a4d"/>
    <ds:schemaRef ds:uri="d286f2b5-8940-4731-80a0-5f0f59170d3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833226D-B276-4E36-881A-84FC5B0B1FB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A510A1C-CFAF-4880-AE06-25C1AD42C893}">
  <ds:schemaRefs>
    <ds:schemaRef ds:uri="1eb11bbe-8c61-4a77-9c8f-80eb21b93a5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db266a67-cbe0-4d26-ae1a-d0581fe03535}" enabled="0" method="" siteId="{db266a67-cbe0-4d26-ae1a-d0581fe0353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Progress PowerPoint 2025 Template</Template>
  <Application>Microsoft Office PowerPoint</Application>
  <PresentationFormat>Widescreen</PresentationFormat>
  <Slides>9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Office Theme</vt:lpstr>
      <vt:lpstr>AI-Powered Data Visualization Dashboard</vt:lpstr>
      <vt:lpstr>Project Purpose</vt:lpstr>
      <vt:lpstr>Key Features</vt:lpstr>
      <vt:lpstr>Demonstration</vt:lpstr>
      <vt:lpstr>Business Value</vt:lpstr>
      <vt:lpstr>PowerPoint Presentation</vt:lpstr>
      <vt:lpstr>PowerPoint Presentation</vt:lpstr>
      <vt:lpstr>PowerPoint Presentation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ihaela Lukanova</dc:creator>
  <cp:revision>113</cp:revision>
  <dcterms:created xsi:type="dcterms:W3CDTF">2025-10-21T10:52:45Z</dcterms:created>
  <dcterms:modified xsi:type="dcterms:W3CDTF">2025-10-21T15:58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FBAC50D0F77449BFDDE51747AB246C</vt:lpwstr>
  </property>
  <property fmtid="{D5CDD505-2E9C-101B-9397-08002B2CF9AE}" pid="3" name="MediaServiceImageTags">
    <vt:lpwstr/>
  </property>
</Properties>
</file>